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avi" ContentType="video/x-msvide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829" r:id="rId1"/>
  </p:sldMasterIdLst>
  <p:notesMasterIdLst>
    <p:notesMasterId r:id="rId32"/>
  </p:notesMasterIdLst>
  <p:handoutMasterIdLst>
    <p:handoutMasterId r:id="rId33"/>
  </p:handoutMasterIdLst>
  <p:sldIdLst>
    <p:sldId id="453" r:id="rId2"/>
    <p:sldId id="1219" r:id="rId3"/>
    <p:sldId id="1190" r:id="rId4"/>
    <p:sldId id="1193" r:id="rId5"/>
    <p:sldId id="1194" r:id="rId6"/>
    <p:sldId id="1195" r:id="rId7"/>
    <p:sldId id="1220" r:id="rId8"/>
    <p:sldId id="1197" r:id="rId9"/>
    <p:sldId id="1202" r:id="rId10"/>
    <p:sldId id="1203" r:id="rId11"/>
    <p:sldId id="1198" r:id="rId12"/>
    <p:sldId id="1199" r:id="rId13"/>
    <p:sldId id="1200" r:id="rId14"/>
    <p:sldId id="1204" r:id="rId15"/>
    <p:sldId id="1205" r:id="rId16"/>
    <p:sldId id="1201" r:id="rId17"/>
    <p:sldId id="1206" r:id="rId18"/>
    <p:sldId id="1207" r:id="rId19"/>
    <p:sldId id="1217" r:id="rId20"/>
    <p:sldId id="1218" r:id="rId21"/>
    <p:sldId id="1208" r:id="rId22"/>
    <p:sldId id="1209" r:id="rId23"/>
    <p:sldId id="1210" r:id="rId24"/>
    <p:sldId id="1211" r:id="rId25"/>
    <p:sldId id="1212" r:id="rId26"/>
    <p:sldId id="1213" r:id="rId27"/>
    <p:sldId id="1214" r:id="rId28"/>
    <p:sldId id="1215" r:id="rId29"/>
    <p:sldId id="1216" r:id="rId30"/>
    <p:sldId id="1221" r:id="rId31"/>
  </p:sldIdLst>
  <p:sldSz cx="9144000" cy="6858000" type="screen4x3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Dinesh Mehta" initials="DBM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D4D4D"/>
    <a:srgbClr val="663300"/>
    <a:srgbClr val="996633"/>
    <a:srgbClr val="800000"/>
    <a:srgbClr val="FFEB97"/>
    <a:srgbClr val="FFE36D"/>
    <a:srgbClr val="FFD72D"/>
    <a:srgbClr val="FFFFCC"/>
    <a:srgbClr val="2929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06" autoAdjust="0"/>
    <p:restoredTop sz="94752" autoAdjust="0"/>
  </p:normalViewPr>
  <p:slideViewPr>
    <p:cSldViewPr>
      <p:cViewPr>
        <p:scale>
          <a:sx n="60" d="100"/>
          <a:sy n="60" d="100"/>
        </p:scale>
        <p:origin x="1710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2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19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63C235-D9C6-489C-A0CE-E431E7078BAA}" type="datetimeFigureOut">
              <a:rPr lang="en-US" smtClean="0"/>
              <a:pPr/>
              <a:t>2/9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1285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5" y="9371285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A0C388-F55C-4F8F-9969-0CD148A60C1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812443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33879D-09A6-4CB9-9D5C-5758DEBF0E68}" type="datetimeFigureOut">
              <a:rPr lang="en-US" smtClean="0"/>
              <a:pPr/>
              <a:t>2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0113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1285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1" cy="49331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AE3CBA-99F8-498E-82FF-19E861FB670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8735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3AE3CBA-99F8-498E-82FF-19E861FB6705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8408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98308" name="Footer Placeholder 3"/>
          <p:cNvSpPr>
            <a:spLocks noGrp="1"/>
          </p:cNvSpPr>
          <p:nvPr>
            <p:ph type="ftr" sz="quarter" idx="4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mtClean="0">
              <a:latin typeface="Calibri" pitchFamily="34" charset="0"/>
            </a:endParaRPr>
          </a:p>
        </p:txBody>
      </p:sp>
      <p:sp>
        <p:nvSpPr>
          <p:cNvPr id="79877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fld id="{147BE34D-0B52-4F9E-8775-CF61346D6707}" type="slidenum">
              <a:rPr lang="en-US" altLang="en-US" smtClean="0">
                <a:latin typeface="Calibri" panose="020F0502020204030204" pitchFamily="34" charset="0"/>
              </a:rPr>
              <a:pPr/>
              <a:t>17</a:t>
            </a:fld>
            <a:endParaRPr lang="en-US" altLang="en-US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9577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82948" name="Footer Placeholder 3"/>
          <p:cNvSpPr>
            <a:spLocks noGrp="1"/>
          </p:cNvSpPr>
          <p:nvPr>
            <p:ph type="ftr" sz="quarter" idx="4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mtClean="0">
              <a:latin typeface="Calibri" pitchFamily="34" charset="0"/>
            </a:endParaRPr>
          </a:p>
        </p:txBody>
      </p:sp>
      <p:sp>
        <p:nvSpPr>
          <p:cNvPr id="81925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fld id="{71EE6000-B2AE-4114-B6B4-859A1592CD01}" type="slidenum">
              <a:rPr lang="en-US" altLang="en-US" smtClean="0">
                <a:latin typeface="Calibri" panose="020F0502020204030204" pitchFamily="34" charset="0"/>
              </a:rPr>
              <a:pPr/>
              <a:t>18</a:t>
            </a:fld>
            <a:endParaRPr lang="en-US" altLang="en-US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14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0113" y="739775"/>
            <a:ext cx="4935537" cy="3700463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82948" name="Footer Placeholder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mtClean="0">
              <a:latin typeface="Calibri" pitchFamily="34" charset="0"/>
            </a:endParaRPr>
          </a:p>
        </p:txBody>
      </p:sp>
      <p:sp>
        <p:nvSpPr>
          <p:cNvPr id="82949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7AAA482-5360-4F82-8493-3EA694CDE7C0}" type="slidenum">
              <a:rPr lang="en-US" altLang="en-US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3775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79450" y="798513"/>
            <a:ext cx="5318125" cy="39893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3674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35013"/>
            <a:ext cx="4900613" cy="36750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3972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49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02404" name="Footer Placeholder 3"/>
          <p:cNvSpPr>
            <a:spLocks noGrp="1"/>
          </p:cNvSpPr>
          <p:nvPr>
            <p:ph type="ftr" sz="quarter" idx="4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smtClean="0">
              <a:latin typeface="Calibri" pitchFamily="34" charset="0"/>
            </a:endParaRPr>
          </a:p>
        </p:txBody>
      </p:sp>
      <p:sp>
        <p:nvSpPr>
          <p:cNvPr id="84997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fld id="{89147D40-4415-455A-BE47-7F9EF88D980D}" type="slidenum">
              <a:rPr lang="en-US" altLang="en-US" smtClean="0">
                <a:latin typeface="Calibri" panose="020F0502020204030204" pitchFamily="34" charset="0"/>
              </a:rPr>
              <a:pPr/>
              <a:t>29</a:t>
            </a:fld>
            <a:endParaRPr lang="en-US" altLang="en-US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0549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PAS Project</a:t>
            </a:r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0C94032-CD4C-4C25-B0C2-CEC720522D92}" type="slidenum">
              <a:rPr kumimoji="0" lang="en-US" smtClean="0"/>
              <a:pPr/>
              <a:t>‹#›</a:t>
            </a:fld>
            <a:endParaRPr kumimoji="0" lang="en-US" dirty="0">
              <a:solidFill>
                <a:schemeClr val="tx2"/>
              </a:solidFill>
            </a:endParaRP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2819400" y="0"/>
            <a:ext cx="6324600" cy="68580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1000"/>
                </a:schemeClr>
              </a:gs>
              <a:gs pos="85000">
                <a:schemeClr val="tx1">
                  <a:alpha val="0"/>
                </a:schemeClr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662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062" b="0" cap="none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Slide Number Placeholder 12"/>
          <p:cNvSpPr>
            <a:spLocks noGrp="1"/>
          </p:cNvSpPr>
          <p:nvPr>
            <p:ph type="sldNum" sz="quarter" idx="10"/>
          </p:nvPr>
        </p:nvSpPr>
        <p:spPr>
          <a:xfrm>
            <a:off x="8316058" y="6465889"/>
            <a:ext cx="685800" cy="3714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D4ED6B-0CC5-469A-B783-72602EE401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1"/>
          </p:nvPr>
        </p:nvSpPr>
        <p:spPr>
          <a:xfrm>
            <a:off x="609600" y="6534150"/>
            <a:ext cx="67818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S Project</a:t>
            </a:r>
          </a:p>
        </p:txBody>
      </p:sp>
    </p:spTree>
    <p:extLst>
      <p:ext uri="{BB962C8B-B14F-4D97-AF65-F5344CB8AC3E}">
        <p14:creationId xmlns:p14="http://schemas.microsoft.com/office/powerpoint/2010/main" val="99489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-Column Chevr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3" y="0"/>
          <a:ext cx="144318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44318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5637" y="134471"/>
            <a:ext cx="8312727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031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40" hasCustomPrompt="1"/>
          </p:nvPr>
        </p:nvSpPr>
        <p:spPr>
          <a:xfrm>
            <a:off x="581940" y="1008564"/>
            <a:ext cx="1662527" cy="699187"/>
          </a:xfrm>
          <a:prstGeom prst="homePlate">
            <a:avLst>
              <a:gd name="adj" fmla="val 17178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41" hasCustomPrompt="1"/>
          </p:nvPr>
        </p:nvSpPr>
        <p:spPr>
          <a:xfrm>
            <a:off x="2161294" y="1008564"/>
            <a:ext cx="1662573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56" hasCustomPrompt="1"/>
          </p:nvPr>
        </p:nvSpPr>
        <p:spPr>
          <a:xfrm>
            <a:off x="3740695" y="1008564"/>
            <a:ext cx="1662573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81938" y="1815370"/>
            <a:ext cx="1496275" cy="4504719"/>
          </a:xfrm>
          <a:prstGeom prst="rect">
            <a:avLst/>
          </a:prstGeom>
        </p:spPr>
        <p:txBody>
          <a:bodyPr lIns="0" tIns="0" rIns="0" bIns="0"/>
          <a:lstStyle>
            <a:lvl1pPr marL="159731" indent="-159731">
              <a:defRPr/>
            </a:lvl1pPr>
            <a:lvl2pPr marL="320928" indent="-161196">
              <a:defRPr sz="1108"/>
            </a:lvl2pPr>
            <a:lvl3pPr marL="470401" indent="-149473">
              <a:defRPr sz="1108"/>
            </a:lvl3pPr>
            <a:lvl4pPr marL="630131" indent="-159731">
              <a:defRPr sz="1108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63" hasCustomPrompt="1"/>
          </p:nvPr>
        </p:nvSpPr>
        <p:spPr>
          <a:xfrm>
            <a:off x="5320096" y="1008537"/>
            <a:ext cx="1662573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64" hasCustomPrompt="1"/>
          </p:nvPr>
        </p:nvSpPr>
        <p:spPr>
          <a:xfrm>
            <a:off x="6899542" y="1008537"/>
            <a:ext cx="1662573" cy="699187"/>
          </a:xfrm>
          <a:prstGeom prst="chevron">
            <a:avLst>
              <a:gd name="adj" fmla="val 19003"/>
            </a:avLst>
          </a:prstGeom>
          <a:solidFill>
            <a:schemeClr val="tx2"/>
          </a:solidFill>
        </p:spPr>
        <p:txBody>
          <a:bodyPr lIns="82058" tIns="41029" rIns="82058" bIns="41029" anchor="ctr"/>
          <a:lstStyle>
            <a:lvl1pPr marL="0" indent="0" algn="ctr">
              <a:buNone/>
              <a:defRPr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26" name="Text Placeholder 9"/>
          <p:cNvSpPr>
            <a:spLocks noGrp="1"/>
          </p:cNvSpPr>
          <p:nvPr>
            <p:ph type="body" sz="quarter" idx="65"/>
          </p:nvPr>
        </p:nvSpPr>
        <p:spPr>
          <a:xfrm>
            <a:off x="2161339" y="1829411"/>
            <a:ext cx="1496275" cy="4504719"/>
          </a:xfrm>
          <a:prstGeom prst="rect">
            <a:avLst/>
          </a:prstGeom>
        </p:spPr>
        <p:txBody>
          <a:bodyPr lIns="0" tIns="0" rIns="0" bIns="0"/>
          <a:lstStyle>
            <a:lvl1pPr marL="159731" indent="-159731">
              <a:defRPr/>
            </a:lvl1pPr>
            <a:lvl2pPr marL="320928" indent="-161196">
              <a:defRPr sz="1108"/>
            </a:lvl2pPr>
            <a:lvl3pPr marL="470401" indent="-149473">
              <a:defRPr sz="1108"/>
            </a:lvl3pPr>
            <a:lvl4pPr marL="630131" indent="-159731">
              <a:defRPr sz="1108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66"/>
          </p:nvPr>
        </p:nvSpPr>
        <p:spPr>
          <a:xfrm>
            <a:off x="3749053" y="1829411"/>
            <a:ext cx="1496275" cy="4504719"/>
          </a:xfrm>
          <a:prstGeom prst="rect">
            <a:avLst/>
          </a:prstGeom>
        </p:spPr>
        <p:txBody>
          <a:bodyPr lIns="0" tIns="0" rIns="0" bIns="0"/>
          <a:lstStyle>
            <a:lvl1pPr marL="159731" indent="-159731">
              <a:defRPr/>
            </a:lvl1pPr>
            <a:lvl2pPr marL="320928" indent="-161196">
              <a:defRPr sz="1108"/>
            </a:lvl2pPr>
            <a:lvl3pPr marL="470401" indent="-149473">
              <a:defRPr sz="1108"/>
            </a:lvl3pPr>
            <a:lvl4pPr marL="630131" indent="-159731">
              <a:defRPr sz="1108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8" name="Text Placeholder 9"/>
          <p:cNvSpPr>
            <a:spLocks noGrp="1"/>
          </p:cNvSpPr>
          <p:nvPr>
            <p:ph type="body" sz="quarter" idx="67"/>
          </p:nvPr>
        </p:nvSpPr>
        <p:spPr>
          <a:xfrm>
            <a:off x="5361704" y="1829411"/>
            <a:ext cx="1496275" cy="4504719"/>
          </a:xfrm>
          <a:prstGeom prst="rect">
            <a:avLst/>
          </a:prstGeom>
        </p:spPr>
        <p:txBody>
          <a:bodyPr lIns="0" tIns="0" rIns="0" bIns="0"/>
          <a:lstStyle>
            <a:lvl1pPr marL="159731" indent="-159731">
              <a:defRPr/>
            </a:lvl1pPr>
            <a:lvl2pPr marL="320928" indent="-161196">
              <a:defRPr sz="1108"/>
            </a:lvl2pPr>
            <a:lvl3pPr marL="470401" indent="-149473">
              <a:defRPr sz="1108"/>
            </a:lvl3pPr>
            <a:lvl4pPr marL="630131" indent="-159731">
              <a:defRPr sz="1108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68"/>
          </p:nvPr>
        </p:nvSpPr>
        <p:spPr>
          <a:xfrm>
            <a:off x="6949418" y="1829411"/>
            <a:ext cx="1496275" cy="4504719"/>
          </a:xfrm>
          <a:prstGeom prst="rect">
            <a:avLst/>
          </a:prstGeom>
        </p:spPr>
        <p:txBody>
          <a:bodyPr lIns="0" tIns="0" rIns="0" bIns="0"/>
          <a:lstStyle>
            <a:lvl1pPr marL="159731" indent="-159731">
              <a:defRPr/>
            </a:lvl1pPr>
            <a:lvl2pPr marL="320928" indent="-161196">
              <a:defRPr sz="1108"/>
            </a:lvl2pPr>
            <a:lvl3pPr marL="470401" indent="-149473">
              <a:defRPr sz="1108"/>
            </a:lvl3pPr>
            <a:lvl4pPr marL="630131" indent="-159731">
              <a:defRPr sz="1108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415926" y="6446494"/>
            <a:ext cx="753228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23" baseline="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never cover the ‘Dalberg #’ in the bottom right., but the bottom line of text can extend under it if necessary.  SOURCE::</a:t>
            </a:r>
            <a:r>
              <a:rPr lang="en-US" dirty="0" err="1" smtClean="0"/>
              <a:t>xxxxxxxxxxxxxxxxxxxxxxxxxxxxxxxxxxxxxxxxx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458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3608" cy="139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3608" cy="1397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15637" y="134471"/>
            <a:ext cx="8312727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031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7"/>
          </p:nvPr>
        </p:nvSpPr>
        <p:spPr>
          <a:xfrm>
            <a:off x="415926" y="6446496"/>
            <a:ext cx="7532284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923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08326" y="1008531"/>
            <a:ext cx="8299535" cy="5325595"/>
          </a:xfrm>
          <a:prstGeom prst="rect">
            <a:avLst/>
          </a:prstGeom>
        </p:spPr>
        <p:txBody>
          <a:bodyPr lIns="0" tIns="0" rIns="0" bIns="0"/>
          <a:lstStyle>
            <a:lvl1pPr marL="159731" indent="-159731">
              <a:defRPr sz="1292"/>
            </a:lvl1pPr>
            <a:lvl2pPr marL="320928" indent="-161196">
              <a:defRPr sz="1108"/>
            </a:lvl2pPr>
            <a:lvl3pPr marL="470401" indent="-149473">
              <a:defRPr sz="1108"/>
            </a:lvl3pPr>
            <a:lvl4pPr marL="630131" indent="-159731">
              <a:defRPr sz="1108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40182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990600"/>
            <a:ext cx="8153400" cy="51816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dirty="0" smtClean="0"/>
              <a:t>Click to edit Master text styles</a:t>
            </a:r>
          </a:p>
          <a:p>
            <a:pPr lvl="1" eaLnBrk="1" latinLnBrk="0" hangingPunct="1"/>
            <a:r>
              <a:rPr lang="en-US" dirty="0" smtClean="0"/>
              <a:t>Second level</a:t>
            </a:r>
          </a:p>
          <a:p>
            <a:pPr lvl="2" eaLnBrk="1" latinLnBrk="0" hangingPunct="1"/>
            <a:r>
              <a:rPr lang="en-US" dirty="0" smtClean="0"/>
              <a:t>Third level</a:t>
            </a:r>
          </a:p>
          <a:p>
            <a:pPr lvl="3" eaLnBrk="1" latinLnBrk="0" hangingPunct="1"/>
            <a:r>
              <a:rPr lang="en-US" dirty="0" smtClean="0"/>
              <a:t>Fourth level</a:t>
            </a:r>
          </a:p>
          <a:p>
            <a:pPr lvl="4" eaLnBrk="1" latinLnBrk="0" hangingPunct="1"/>
            <a:r>
              <a:rPr lang="en-US" dirty="0" smtClean="0"/>
              <a:t>Fifth level</a:t>
            </a:r>
            <a:endParaRPr kumimoji="0"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914400"/>
            <a:ext cx="3886200" cy="5105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00600" y="914400"/>
            <a:ext cx="3886200" cy="5105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5" name="Slide Number Placeholder 12"/>
          <p:cNvSpPr txBox="1">
            <a:spLocks/>
          </p:cNvSpPr>
          <p:nvPr userDrawn="1"/>
        </p:nvSpPr>
        <p:spPr>
          <a:xfrm>
            <a:off x="8305800" y="6465258"/>
            <a:ext cx="685800" cy="3714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4EDBEA-8D71-4D99-973A-F59B0B00E3C8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225"/>
            <a:ext cx="8153400" cy="602375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1524000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1524000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8382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8382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1899"/>
            <a:ext cx="8077200" cy="609600"/>
          </a:xfrm>
        </p:spPr>
        <p:txBody>
          <a:bodyPr anchor="ctr">
            <a:normAutofit/>
          </a:bodyPr>
          <a:lstStyle>
            <a:lvl1pPr algn="l">
              <a:buNone/>
              <a:defRPr sz="4000" b="0"/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914400"/>
            <a:ext cx="1600200" cy="51816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dirty="0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914400"/>
            <a:ext cx="6400800" cy="5181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1581150" y="4654296"/>
            <a:ext cx="7562850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62100" y="4648200"/>
            <a:ext cx="73533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1447800" y="0"/>
            <a:ext cx="114300" cy="455295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  <a:prstGeom prst="rect">
            <a:avLst/>
          </a:prstGeom>
        </p:spPr>
        <p:txBody>
          <a:bodyPr rtlCol="0"/>
          <a:lstStyle/>
          <a:p>
            <a:pPr>
              <a:defRPr/>
            </a:pPr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  <a:prstGeom prst="rect">
            <a:avLst/>
          </a:prstGeom>
        </p:spPr>
        <p:txBody>
          <a:bodyPr rtlCol="0"/>
          <a:lstStyle/>
          <a:p>
            <a:pPr>
              <a:defRPr/>
            </a:pPr>
            <a:r>
              <a:rPr lang="en-US" smtClean="0"/>
              <a:t>PAS Project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52950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 smtClean="0"/>
              <a:t>Click icon to add picture</a:t>
            </a:r>
            <a:endParaRPr kumimoji="0"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  <a:prstGeom prst="rect">
            <a:avLst/>
          </a:prstGeo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ACD85CB9-7052-4285-AB74-A5571007450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-9144" y="4663440"/>
            <a:ext cx="145694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67336"/>
            <a:ext cx="8153400" cy="533400"/>
          </a:xfrm>
          <a:prstGeom prst="rect">
            <a:avLst/>
          </a:prstGeom>
        </p:spPr>
        <p:txBody>
          <a:bodyPr vert="horz" anchor="ctr">
            <a:no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914400"/>
            <a:ext cx="8153400" cy="525780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dirty="0" smtClean="0"/>
              <a:t>Click to edit Master text styles</a:t>
            </a:r>
          </a:p>
          <a:p>
            <a:pPr lvl="1" eaLnBrk="1" latinLnBrk="0" hangingPunct="1"/>
            <a:r>
              <a:rPr kumimoji="0" lang="en-US" dirty="0" smtClean="0"/>
              <a:t>Second level</a:t>
            </a:r>
          </a:p>
          <a:p>
            <a:pPr lvl="2" eaLnBrk="1" latinLnBrk="0" hangingPunct="1"/>
            <a:r>
              <a:rPr kumimoji="0" lang="en-US" dirty="0" smtClean="0"/>
              <a:t>Third level</a:t>
            </a:r>
          </a:p>
          <a:p>
            <a:pPr lvl="3" eaLnBrk="1" latinLnBrk="0" hangingPunct="1"/>
            <a:r>
              <a:rPr kumimoji="0" lang="en-US" dirty="0" smtClean="0"/>
              <a:t>Fourth level</a:t>
            </a:r>
          </a:p>
          <a:p>
            <a:pPr lvl="4" eaLnBrk="1" latinLnBrk="0" hangingPunct="1"/>
            <a:r>
              <a:rPr kumimoji="0" lang="en-US" dirty="0" smtClean="0"/>
              <a:t>Fifth level</a:t>
            </a:r>
            <a:endParaRPr kumimoji="0"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622002"/>
            <a:ext cx="9144000" cy="149352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667722"/>
            <a:ext cx="533400" cy="10668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590550" y="667722"/>
            <a:ext cx="8553450" cy="10668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9600" y="6324600"/>
            <a:ext cx="8153400" cy="288731"/>
          </a:xfrm>
          <a:prstGeom prst="rect">
            <a:avLst/>
          </a:prstGeom>
        </p:spPr>
        <p:txBody>
          <a:bodyPr/>
          <a:lstStyle>
            <a:lvl1pPr algn="l">
              <a:defRPr sz="1050" i="0">
                <a:solidFill>
                  <a:schemeClr val="accent6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pPr>
              <a:defRPr/>
            </a:pPr>
            <a:r>
              <a:rPr lang="en-US" smtClean="0"/>
              <a:t>Performance Assessment Systems (PAS) for Urban Water Supply and Sanitation in India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3" r:id="rId12"/>
    <p:sldLayoutId id="2147483844" r:id="rId13"/>
    <p:sldLayoutId id="2147483845" r:id="rId14"/>
    <p:sldLayoutId id="2147483846" r:id="rId15"/>
  </p:sldLayoutIdLst>
  <p:hf hdr="0" dt="0"/>
  <p:txStyles>
    <p:titleStyle>
      <a:lvl1pPr algn="l" rtl="0" eaLnBrk="1" latinLnBrk="0" hangingPunct="1">
        <a:spcBef>
          <a:spcPct val="0"/>
        </a:spcBef>
        <a:buNone/>
        <a:defRPr kumimoji="0"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png"/><Relationship Id="rId7" Type="http://schemas.openxmlformats.org/officeDocument/2006/relationships/image" Target="../media/image8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image" Target="../media/image22.png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1.emf"/><Relationship Id="rId4" Type="http://schemas.openxmlformats.org/officeDocument/2006/relationships/image" Target="../media/image23.png"/><Relationship Id="rId9" Type="http://schemas.openxmlformats.org/officeDocument/2006/relationships/oleObject" Target="../embeddings/oleObject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11.png"/><Relationship Id="rId7" Type="http://schemas.microsoft.com/office/2007/relationships/hdphoto" Target="../media/hdphoto3.wdp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microsoft.com/office/2007/relationships/hdphoto" Target="../media/hdphoto2.wdp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mr-IN" sz="3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EPT University, </a:t>
            </a:r>
            <a:r>
              <a:rPr lang="mr-IN" sz="3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हमदाबाद</a:t>
            </a:r>
            <a:endParaRPr lang="en-IN" sz="3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6200" y="2246977"/>
            <a:ext cx="8991600" cy="304698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mr-IN" sz="40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वच्छ महाराष्ट्र अभियान </a:t>
            </a:r>
          </a:p>
          <a:p>
            <a:pPr lvl="0" algn="ctr">
              <a:lnSpc>
                <a:spcPct val="150000"/>
              </a:lnSpc>
              <a:defRPr/>
            </a:pPr>
            <a:r>
              <a:rPr lang="mr-IN" sz="48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DF + व ODF ++ शहरांकडे वळणे</a:t>
            </a:r>
          </a:p>
          <a:p>
            <a:pPr lvl="0" algn="ctr">
              <a:lnSpc>
                <a:spcPct val="150000"/>
              </a:lnSpc>
              <a:defRPr/>
            </a:pPr>
            <a:r>
              <a:rPr lang="mr-IN" sz="40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िभागीय कार्यशाळा : टप्पा २ </a:t>
            </a:r>
          </a:p>
        </p:txBody>
      </p:sp>
      <p:pic>
        <p:nvPicPr>
          <p:cNvPr id="20482" name="Picture 2" descr="D:\PAS YA DUR 2\PHOTOS_MEETINGS_FIELD VISITS\16. MEETRA_Nirmal Gram_Sanitation park_11.8.2015\Nirmal  Gram Campus\IMG_807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8314" y="13789"/>
            <a:ext cx="1585686" cy="185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/>
          <p:cNvCxnSpPr/>
          <p:nvPr/>
        </p:nvCxnSpPr>
        <p:spPr>
          <a:xfrm>
            <a:off x="-34290" y="1883331"/>
            <a:ext cx="9178290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1718447" y="2358"/>
            <a:ext cx="0" cy="18768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/>
          <p:nvPr/>
        </p:nvCxnSpPr>
        <p:spPr>
          <a:xfrm>
            <a:off x="5980388" y="13789"/>
            <a:ext cx="0" cy="187681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75" y="6208329"/>
            <a:ext cx="2024062" cy="41956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890" t="18697" b="18126"/>
          <a:stretch/>
        </p:blipFill>
        <p:spPr>
          <a:xfrm>
            <a:off x="0" y="0"/>
            <a:ext cx="2903207" cy="18476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6990" y="-9038"/>
            <a:ext cx="1114010" cy="1856683"/>
          </a:xfrm>
          <a:prstGeom prst="rect">
            <a:avLst/>
          </a:prstGeom>
        </p:spPr>
      </p:pic>
      <p:sp>
        <p:nvSpPr>
          <p:cNvPr id="15" name="Rounded Rectangle 14"/>
          <p:cNvSpPr/>
          <p:nvPr/>
        </p:nvSpPr>
        <p:spPr>
          <a:xfrm>
            <a:off x="4290848" y="-1766"/>
            <a:ext cx="1933904" cy="1833646"/>
          </a:xfrm>
          <a:prstGeom prst="roundRect">
            <a:avLst>
              <a:gd name="adj" fmla="val 0"/>
            </a:avLst>
          </a:prstGeo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3092" b="-1370"/>
            </a:stretch>
          </a:blip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24600" y="13789"/>
            <a:ext cx="1115711" cy="189526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याचा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किमान आकार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. .</a:t>
            </a:r>
            <a:endParaRPr lang="en-US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36" name="Group 235"/>
          <p:cNvGrpSpPr/>
          <p:nvPr/>
        </p:nvGrpSpPr>
        <p:grpSpPr>
          <a:xfrm>
            <a:off x="2971800" y="1740150"/>
            <a:ext cx="2971799" cy="3441450"/>
            <a:chOff x="3434106" y="1219202"/>
            <a:chExt cx="3240727" cy="3441450"/>
          </a:xfrm>
        </p:grpSpPr>
        <p:cxnSp>
          <p:nvCxnSpPr>
            <p:cNvPr id="237" name="Straight Connector 236"/>
            <p:cNvCxnSpPr>
              <a:stCxn id="242" idx="1"/>
            </p:cNvCxnSpPr>
            <p:nvPr/>
          </p:nvCxnSpPr>
          <p:spPr>
            <a:xfrm flipV="1">
              <a:off x="4633576" y="1949311"/>
              <a:ext cx="0" cy="1456913"/>
            </a:xfrm>
            <a:prstGeom prst="line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grpSp>
          <p:nvGrpSpPr>
            <p:cNvPr id="238" name="Group 237"/>
            <p:cNvGrpSpPr/>
            <p:nvPr/>
          </p:nvGrpSpPr>
          <p:grpSpPr>
            <a:xfrm>
              <a:off x="3434106" y="1219202"/>
              <a:ext cx="3240727" cy="3441450"/>
              <a:chOff x="127000" y="1219201"/>
              <a:chExt cx="3746500" cy="4148767"/>
            </a:xfrm>
          </p:grpSpPr>
          <p:sp>
            <p:nvSpPr>
              <p:cNvPr id="242" name="Parallelogram 2"/>
              <p:cNvSpPr/>
              <p:nvPr/>
            </p:nvSpPr>
            <p:spPr>
              <a:xfrm>
                <a:off x="828987" y="3849370"/>
                <a:ext cx="1814830" cy="652780"/>
              </a:xfrm>
              <a:custGeom>
                <a:avLst/>
                <a:gdLst>
                  <a:gd name="connsiteX0" fmla="*/ 0 w 2468880"/>
                  <a:gd name="connsiteY0" fmla="*/ 640080 h 640080"/>
                  <a:gd name="connsiteX1" fmla="*/ 684681 w 2468880"/>
                  <a:gd name="connsiteY1" fmla="*/ 0 h 640080"/>
                  <a:gd name="connsiteX2" fmla="*/ 2468880 w 2468880"/>
                  <a:gd name="connsiteY2" fmla="*/ 0 h 640080"/>
                  <a:gd name="connsiteX3" fmla="*/ 1784199 w 2468880"/>
                  <a:gd name="connsiteY3" fmla="*/ 640080 h 640080"/>
                  <a:gd name="connsiteX4" fmla="*/ 0 w 2468880"/>
                  <a:gd name="connsiteY4" fmla="*/ 640080 h 640080"/>
                  <a:gd name="connsiteX0" fmla="*/ 0 w 2468880"/>
                  <a:gd name="connsiteY0" fmla="*/ 640080 h 646430"/>
                  <a:gd name="connsiteX1" fmla="*/ 684681 w 2468880"/>
                  <a:gd name="connsiteY1" fmla="*/ 0 h 646430"/>
                  <a:gd name="connsiteX2" fmla="*/ 2468880 w 2468880"/>
                  <a:gd name="connsiteY2" fmla="*/ 0 h 646430"/>
                  <a:gd name="connsiteX3" fmla="*/ 1809599 w 2468880"/>
                  <a:gd name="connsiteY3" fmla="*/ 646430 h 646430"/>
                  <a:gd name="connsiteX4" fmla="*/ 0 w 2468880"/>
                  <a:gd name="connsiteY4" fmla="*/ 640080 h 646430"/>
                  <a:gd name="connsiteX0" fmla="*/ 0 w 1814830"/>
                  <a:gd name="connsiteY0" fmla="*/ 646430 h 652780"/>
                  <a:gd name="connsiteX1" fmla="*/ 684681 w 1814830"/>
                  <a:gd name="connsiteY1" fmla="*/ 6350 h 652780"/>
                  <a:gd name="connsiteX2" fmla="*/ 1814830 w 1814830"/>
                  <a:gd name="connsiteY2" fmla="*/ 0 h 652780"/>
                  <a:gd name="connsiteX3" fmla="*/ 1809599 w 1814830"/>
                  <a:gd name="connsiteY3" fmla="*/ 652780 h 652780"/>
                  <a:gd name="connsiteX4" fmla="*/ 0 w 1814830"/>
                  <a:gd name="connsiteY4" fmla="*/ 646430 h 65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4830" h="652780">
                    <a:moveTo>
                      <a:pt x="0" y="646430"/>
                    </a:moveTo>
                    <a:lnTo>
                      <a:pt x="684681" y="6350"/>
                    </a:lnTo>
                    <a:lnTo>
                      <a:pt x="1814830" y="0"/>
                    </a:lnTo>
                    <a:cubicBezTo>
                      <a:pt x="1813086" y="217593"/>
                      <a:pt x="1811343" y="435187"/>
                      <a:pt x="1809599" y="652780"/>
                    </a:cubicBezTo>
                    <a:lnTo>
                      <a:pt x="0" y="646430"/>
                    </a:ln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43" name="Group 242"/>
              <p:cNvGrpSpPr/>
              <p:nvPr/>
            </p:nvGrpSpPr>
            <p:grpSpPr>
              <a:xfrm>
                <a:off x="685800" y="1219201"/>
                <a:ext cx="2681927" cy="3276600"/>
                <a:chOff x="1278555" y="4429439"/>
                <a:chExt cx="1504864" cy="1666561"/>
              </a:xfrm>
            </p:grpSpPr>
            <p:sp>
              <p:nvSpPr>
                <p:cNvPr id="250" name="Cube 249"/>
                <p:cNvSpPr/>
                <p:nvPr/>
              </p:nvSpPr>
              <p:spPr>
                <a:xfrm>
                  <a:off x="1358900" y="4495800"/>
                  <a:ext cx="1361381" cy="1600200"/>
                </a:xfrm>
                <a:prstGeom prst="cube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51" name="Rectangle 250"/>
                <p:cNvSpPr/>
                <p:nvPr/>
              </p:nvSpPr>
              <p:spPr>
                <a:xfrm>
                  <a:off x="2416944" y="5006491"/>
                  <a:ext cx="329269" cy="990600"/>
                </a:xfrm>
                <a:prstGeom prst="rect">
                  <a:avLst/>
                </a:prstGeom>
                <a:solidFill>
                  <a:sysClr val="windowText" lastClr="000000">
                    <a:lumMod val="65000"/>
                    <a:lumOff val="35000"/>
                  </a:sysClr>
                </a:solidFill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  <a:scene3d>
                  <a:camera prst="isometricLeftDown">
                    <a:rot lat="2100000" lon="7140000" rev="0"/>
                  </a:camera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.</a:t>
                  </a:r>
                </a:p>
              </p:txBody>
            </p:sp>
            <p:sp>
              <p:nvSpPr>
                <p:cNvPr id="252" name="Cube 251"/>
                <p:cNvSpPr/>
                <p:nvPr/>
              </p:nvSpPr>
              <p:spPr>
                <a:xfrm>
                  <a:off x="1278555" y="4429439"/>
                  <a:ext cx="1504864" cy="447675"/>
                </a:xfrm>
                <a:prstGeom prst="cube">
                  <a:avLst>
                    <a:gd name="adj" fmla="val 78571"/>
                  </a:avLst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44" name="Straight Arrow Connector 243"/>
              <p:cNvCxnSpPr/>
              <p:nvPr/>
            </p:nvCxnSpPr>
            <p:spPr>
              <a:xfrm flipH="1">
                <a:off x="2819400" y="4010798"/>
                <a:ext cx="609600" cy="581078"/>
              </a:xfrm>
              <a:prstGeom prst="straightConnector1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headEnd type="triangle" w="lg" len="lg"/>
                <a:tailEnd type="triangle" w="lg" len="lg"/>
              </a:ln>
              <a:effectLst/>
            </p:spPr>
          </p:cxnSp>
          <p:cxnSp>
            <p:nvCxnSpPr>
              <p:cNvPr id="245" name="Straight Arrow Connector 244"/>
              <p:cNvCxnSpPr/>
              <p:nvPr/>
            </p:nvCxnSpPr>
            <p:spPr>
              <a:xfrm flipH="1">
                <a:off x="825231" y="4744276"/>
                <a:ext cx="1818586" cy="0"/>
              </a:xfrm>
              <a:prstGeom prst="straightConnector1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headEnd type="triangle" w="lg" len="lg"/>
                <a:tailEnd type="triangle" w="lg" len="lg"/>
              </a:ln>
              <a:effectLst/>
            </p:spPr>
          </p:cxnSp>
          <p:sp>
            <p:nvSpPr>
              <p:cNvPr id="246" name="TextBox 245"/>
              <p:cNvSpPr txBox="1"/>
              <p:nvPr/>
            </p:nvSpPr>
            <p:spPr>
              <a:xfrm>
                <a:off x="3111500" y="4289907"/>
                <a:ext cx="762000" cy="3710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1 m</a:t>
                </a:r>
              </a:p>
            </p:txBody>
          </p:sp>
          <p:sp>
            <p:nvSpPr>
              <p:cNvPr id="247" name="TextBox 246"/>
              <p:cNvSpPr txBox="1"/>
              <p:nvPr/>
            </p:nvSpPr>
            <p:spPr>
              <a:xfrm>
                <a:off x="1417164" y="4996934"/>
                <a:ext cx="762000" cy="3710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1.2 m</a:t>
                </a:r>
              </a:p>
            </p:txBody>
          </p:sp>
          <p:cxnSp>
            <p:nvCxnSpPr>
              <p:cNvPr id="248" name="Straight Arrow Connector 247"/>
              <p:cNvCxnSpPr/>
              <p:nvPr/>
            </p:nvCxnSpPr>
            <p:spPr>
              <a:xfrm>
                <a:off x="533400" y="2099368"/>
                <a:ext cx="0" cy="2402782"/>
              </a:xfrm>
              <a:prstGeom prst="straightConnector1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headEnd type="triangle" w="lg" len="lg"/>
                <a:tailEnd type="triangle" w="lg" len="lg"/>
              </a:ln>
              <a:effectLst/>
            </p:spPr>
          </p:cxnSp>
          <p:sp>
            <p:nvSpPr>
              <p:cNvPr id="249" name="TextBox 248"/>
              <p:cNvSpPr txBox="1"/>
              <p:nvPr/>
            </p:nvSpPr>
            <p:spPr>
              <a:xfrm>
                <a:off x="127000" y="2964037"/>
                <a:ext cx="762000" cy="3710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2.1 m</a:t>
                </a:r>
              </a:p>
            </p:txBody>
          </p:sp>
        </p:grpSp>
        <p:pic>
          <p:nvPicPr>
            <p:cNvPr id="239" name="Picture 7" descr="http://images.clipartpanda.com/water-faucet-clipart-black-and-white-7599037-dripping-tap.jp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392832" y="2699919"/>
              <a:ext cx="371220" cy="657989"/>
            </a:xfrm>
            <a:prstGeom prst="rect">
              <a:avLst/>
            </a:prstGeom>
            <a:noFill/>
          </p:spPr>
        </p:pic>
        <p:sp>
          <p:nvSpPr>
            <p:cNvPr id="240" name="Freeform 239"/>
            <p:cNvSpPr/>
            <p:nvPr/>
          </p:nvSpPr>
          <p:spPr>
            <a:xfrm>
              <a:off x="4254502" y="3564770"/>
              <a:ext cx="276659" cy="213861"/>
            </a:xfrm>
            <a:custGeom>
              <a:avLst/>
              <a:gdLst>
                <a:gd name="connsiteX0" fmla="*/ 0 w 516732"/>
                <a:gd name="connsiteY0" fmla="*/ 42862 h 392906"/>
                <a:gd name="connsiteX1" fmla="*/ 359569 w 516732"/>
                <a:gd name="connsiteY1" fmla="*/ 0 h 392906"/>
                <a:gd name="connsiteX2" fmla="*/ 359569 w 516732"/>
                <a:gd name="connsiteY2" fmla="*/ 9525 h 392906"/>
                <a:gd name="connsiteX3" fmla="*/ 404813 w 516732"/>
                <a:gd name="connsiteY3" fmla="*/ 19050 h 392906"/>
                <a:gd name="connsiteX4" fmla="*/ 516732 w 516732"/>
                <a:gd name="connsiteY4" fmla="*/ 273844 h 392906"/>
                <a:gd name="connsiteX5" fmla="*/ 490538 w 516732"/>
                <a:gd name="connsiteY5" fmla="*/ 285750 h 392906"/>
                <a:gd name="connsiteX6" fmla="*/ 383382 w 516732"/>
                <a:gd name="connsiteY6" fmla="*/ 52387 h 392906"/>
                <a:gd name="connsiteX7" fmla="*/ 350044 w 516732"/>
                <a:gd name="connsiteY7" fmla="*/ 54769 h 392906"/>
                <a:gd name="connsiteX8" fmla="*/ 340519 w 516732"/>
                <a:gd name="connsiteY8" fmla="*/ 83344 h 392906"/>
                <a:gd name="connsiteX9" fmla="*/ 335757 w 516732"/>
                <a:gd name="connsiteY9" fmla="*/ 388144 h 392906"/>
                <a:gd name="connsiteX10" fmla="*/ 104775 w 516732"/>
                <a:gd name="connsiteY10" fmla="*/ 392906 h 392906"/>
                <a:gd name="connsiteX11" fmla="*/ 57150 w 516732"/>
                <a:gd name="connsiteY11" fmla="*/ 83344 h 392906"/>
                <a:gd name="connsiteX12" fmla="*/ 0 w 516732"/>
                <a:gd name="connsiteY12" fmla="*/ 42862 h 39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6732" h="392906">
                  <a:moveTo>
                    <a:pt x="0" y="42862"/>
                  </a:moveTo>
                  <a:lnTo>
                    <a:pt x="359569" y="0"/>
                  </a:lnTo>
                  <a:lnTo>
                    <a:pt x="359569" y="9525"/>
                  </a:lnTo>
                  <a:lnTo>
                    <a:pt x="404813" y="19050"/>
                  </a:lnTo>
                  <a:cubicBezTo>
                    <a:pt x="442414" y="103851"/>
                    <a:pt x="516732" y="181080"/>
                    <a:pt x="516732" y="273844"/>
                  </a:cubicBezTo>
                  <a:lnTo>
                    <a:pt x="490538" y="285750"/>
                  </a:lnTo>
                  <a:lnTo>
                    <a:pt x="383382" y="52387"/>
                  </a:lnTo>
                  <a:lnTo>
                    <a:pt x="350044" y="54769"/>
                  </a:lnTo>
                  <a:lnTo>
                    <a:pt x="340519" y="83344"/>
                  </a:lnTo>
                  <a:cubicBezTo>
                    <a:pt x="338932" y="184944"/>
                    <a:pt x="337344" y="286544"/>
                    <a:pt x="335757" y="388144"/>
                  </a:cubicBezTo>
                  <a:lnTo>
                    <a:pt x="104775" y="392906"/>
                  </a:lnTo>
                  <a:lnTo>
                    <a:pt x="57150" y="83344"/>
                  </a:lnTo>
                  <a:lnTo>
                    <a:pt x="0" y="42862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endParaRPr>
            </a:p>
          </p:txBody>
        </p:sp>
        <p:sp>
          <p:nvSpPr>
            <p:cNvPr id="241" name="Flowchart: Manual Operation 240"/>
            <p:cNvSpPr/>
            <p:nvPr/>
          </p:nvSpPr>
          <p:spPr>
            <a:xfrm>
              <a:off x="4513129" y="3295809"/>
              <a:ext cx="382989" cy="375892"/>
            </a:xfrm>
            <a:prstGeom prst="flowChartManualOperation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53" name="Group 252"/>
          <p:cNvGrpSpPr/>
          <p:nvPr/>
        </p:nvGrpSpPr>
        <p:grpSpPr>
          <a:xfrm>
            <a:off x="5877560" y="1710573"/>
            <a:ext cx="3393851" cy="2992684"/>
            <a:chOff x="3592715" y="1219202"/>
            <a:chExt cx="2916835" cy="2992684"/>
          </a:xfrm>
        </p:grpSpPr>
        <p:cxnSp>
          <p:nvCxnSpPr>
            <p:cNvPr id="254" name="Straight Connector 253"/>
            <p:cNvCxnSpPr>
              <a:stCxn id="259" idx="1"/>
            </p:cNvCxnSpPr>
            <p:nvPr/>
          </p:nvCxnSpPr>
          <p:spPr>
            <a:xfrm flipV="1">
              <a:off x="4633576" y="1949311"/>
              <a:ext cx="0" cy="1456913"/>
            </a:xfrm>
            <a:prstGeom prst="line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grpSp>
          <p:nvGrpSpPr>
            <p:cNvPr id="255" name="Group 254"/>
            <p:cNvGrpSpPr/>
            <p:nvPr/>
          </p:nvGrpSpPr>
          <p:grpSpPr>
            <a:xfrm>
              <a:off x="3592715" y="1219202"/>
              <a:ext cx="2916835" cy="2992684"/>
              <a:chOff x="310360" y="1219201"/>
              <a:chExt cx="3372060" cy="3607767"/>
            </a:xfrm>
          </p:grpSpPr>
          <p:sp>
            <p:nvSpPr>
              <p:cNvPr id="259" name="Parallelogram 2"/>
              <p:cNvSpPr/>
              <p:nvPr/>
            </p:nvSpPr>
            <p:spPr>
              <a:xfrm>
                <a:off x="828987" y="3849370"/>
                <a:ext cx="1814830" cy="652780"/>
              </a:xfrm>
              <a:custGeom>
                <a:avLst/>
                <a:gdLst>
                  <a:gd name="connsiteX0" fmla="*/ 0 w 2468880"/>
                  <a:gd name="connsiteY0" fmla="*/ 640080 h 640080"/>
                  <a:gd name="connsiteX1" fmla="*/ 684681 w 2468880"/>
                  <a:gd name="connsiteY1" fmla="*/ 0 h 640080"/>
                  <a:gd name="connsiteX2" fmla="*/ 2468880 w 2468880"/>
                  <a:gd name="connsiteY2" fmla="*/ 0 h 640080"/>
                  <a:gd name="connsiteX3" fmla="*/ 1784199 w 2468880"/>
                  <a:gd name="connsiteY3" fmla="*/ 640080 h 640080"/>
                  <a:gd name="connsiteX4" fmla="*/ 0 w 2468880"/>
                  <a:gd name="connsiteY4" fmla="*/ 640080 h 640080"/>
                  <a:gd name="connsiteX0" fmla="*/ 0 w 2468880"/>
                  <a:gd name="connsiteY0" fmla="*/ 640080 h 646430"/>
                  <a:gd name="connsiteX1" fmla="*/ 684681 w 2468880"/>
                  <a:gd name="connsiteY1" fmla="*/ 0 h 646430"/>
                  <a:gd name="connsiteX2" fmla="*/ 2468880 w 2468880"/>
                  <a:gd name="connsiteY2" fmla="*/ 0 h 646430"/>
                  <a:gd name="connsiteX3" fmla="*/ 1809599 w 2468880"/>
                  <a:gd name="connsiteY3" fmla="*/ 646430 h 646430"/>
                  <a:gd name="connsiteX4" fmla="*/ 0 w 2468880"/>
                  <a:gd name="connsiteY4" fmla="*/ 640080 h 646430"/>
                  <a:gd name="connsiteX0" fmla="*/ 0 w 1814830"/>
                  <a:gd name="connsiteY0" fmla="*/ 646430 h 652780"/>
                  <a:gd name="connsiteX1" fmla="*/ 684681 w 1814830"/>
                  <a:gd name="connsiteY1" fmla="*/ 6350 h 652780"/>
                  <a:gd name="connsiteX2" fmla="*/ 1814830 w 1814830"/>
                  <a:gd name="connsiteY2" fmla="*/ 0 h 652780"/>
                  <a:gd name="connsiteX3" fmla="*/ 1809599 w 1814830"/>
                  <a:gd name="connsiteY3" fmla="*/ 652780 h 652780"/>
                  <a:gd name="connsiteX4" fmla="*/ 0 w 1814830"/>
                  <a:gd name="connsiteY4" fmla="*/ 646430 h 65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14830" h="652780">
                    <a:moveTo>
                      <a:pt x="0" y="646430"/>
                    </a:moveTo>
                    <a:lnTo>
                      <a:pt x="684681" y="6350"/>
                    </a:lnTo>
                    <a:lnTo>
                      <a:pt x="1814830" y="0"/>
                    </a:lnTo>
                    <a:cubicBezTo>
                      <a:pt x="1813086" y="217593"/>
                      <a:pt x="1811343" y="435187"/>
                      <a:pt x="1809599" y="652780"/>
                    </a:cubicBezTo>
                    <a:lnTo>
                      <a:pt x="0" y="646430"/>
                    </a:lnTo>
                    <a:close/>
                  </a:path>
                </a:pathLst>
              </a:custGeom>
              <a:solidFill>
                <a:sysClr val="window" lastClr="FFFFFF">
                  <a:lumMod val="85000"/>
                </a:sysClr>
              </a:solidFill>
              <a:ln w="25400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260" name="Group 259"/>
              <p:cNvGrpSpPr/>
              <p:nvPr/>
            </p:nvGrpSpPr>
            <p:grpSpPr>
              <a:xfrm>
                <a:off x="685800" y="1219201"/>
                <a:ext cx="2681927" cy="3276600"/>
                <a:chOff x="1278555" y="4429439"/>
                <a:chExt cx="1504864" cy="1666561"/>
              </a:xfrm>
            </p:grpSpPr>
            <p:sp>
              <p:nvSpPr>
                <p:cNvPr id="265" name="Cube 264"/>
                <p:cNvSpPr/>
                <p:nvPr/>
              </p:nvSpPr>
              <p:spPr>
                <a:xfrm>
                  <a:off x="1358900" y="4495800"/>
                  <a:ext cx="1361381" cy="1600200"/>
                </a:xfrm>
                <a:prstGeom prst="cube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66" name="Rectangle 265"/>
                <p:cNvSpPr/>
                <p:nvPr/>
              </p:nvSpPr>
              <p:spPr>
                <a:xfrm>
                  <a:off x="2416944" y="4959769"/>
                  <a:ext cx="329269" cy="990600"/>
                </a:xfrm>
                <a:prstGeom prst="rect">
                  <a:avLst/>
                </a:prstGeom>
                <a:solidFill>
                  <a:sysClr val="windowText" lastClr="000000">
                    <a:lumMod val="65000"/>
                    <a:lumOff val="35000"/>
                  </a:sysClr>
                </a:solidFill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  <a:scene3d>
                  <a:camera prst="isometricLeftDown">
                    <a:rot lat="2100000" lon="7140000" rev="0"/>
                  </a:camera>
                  <a:lightRig rig="threePt" dir="t"/>
                </a:scene3d>
              </p:spPr>
              <p:txBody>
                <a:bodyPr rtlCol="0" anchor="ctr"/>
                <a:lstStyle/>
                <a:p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36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/>
                      <a:ea typeface="+mn-ea"/>
                      <a:cs typeface="+mn-cs"/>
                    </a:rPr>
                    <a:t>.</a:t>
                  </a:r>
                </a:p>
              </p:txBody>
            </p:sp>
            <p:sp>
              <p:nvSpPr>
                <p:cNvPr id="267" name="Cube 266"/>
                <p:cNvSpPr/>
                <p:nvPr/>
              </p:nvSpPr>
              <p:spPr>
                <a:xfrm>
                  <a:off x="1278555" y="4429439"/>
                  <a:ext cx="1504864" cy="447675"/>
                </a:xfrm>
                <a:prstGeom prst="cube">
                  <a:avLst>
                    <a:gd name="adj" fmla="val 78571"/>
                  </a:avLst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261" name="Straight Arrow Connector 260"/>
              <p:cNvCxnSpPr/>
              <p:nvPr/>
            </p:nvCxnSpPr>
            <p:spPr>
              <a:xfrm flipV="1">
                <a:off x="2714606" y="4010695"/>
                <a:ext cx="653121" cy="733581"/>
              </a:xfrm>
              <a:prstGeom prst="straightConnector1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headEnd type="triangle" w="lg" len="lg"/>
                <a:tailEnd type="triangle" w="lg" len="lg"/>
              </a:ln>
              <a:effectLst/>
            </p:spPr>
          </p:cxnSp>
          <p:sp>
            <p:nvSpPr>
              <p:cNvPr id="262" name="TextBox 261"/>
              <p:cNvSpPr txBox="1"/>
              <p:nvPr/>
            </p:nvSpPr>
            <p:spPr>
              <a:xfrm>
                <a:off x="2920420" y="4455934"/>
                <a:ext cx="762000" cy="3710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1 m</a:t>
                </a:r>
              </a:p>
            </p:txBody>
          </p:sp>
          <p:cxnSp>
            <p:nvCxnSpPr>
              <p:cNvPr id="263" name="Straight Arrow Connector 262"/>
              <p:cNvCxnSpPr/>
              <p:nvPr/>
            </p:nvCxnSpPr>
            <p:spPr>
              <a:xfrm>
                <a:off x="533400" y="2099368"/>
                <a:ext cx="0" cy="2402782"/>
              </a:xfrm>
              <a:prstGeom prst="straightConnector1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headEnd type="triangle" w="lg" len="lg"/>
                <a:tailEnd type="triangle" w="lg" len="lg"/>
              </a:ln>
              <a:effectLst/>
            </p:spPr>
          </p:cxnSp>
          <p:sp>
            <p:nvSpPr>
              <p:cNvPr id="264" name="TextBox 263"/>
              <p:cNvSpPr txBox="1"/>
              <p:nvPr/>
            </p:nvSpPr>
            <p:spPr>
              <a:xfrm>
                <a:off x="310360" y="2964038"/>
                <a:ext cx="762000" cy="37103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  <a:latin typeface="Calibri"/>
                  </a:rPr>
                  <a:t>2.1 m</a:t>
                </a:r>
              </a:p>
            </p:txBody>
          </p:sp>
        </p:grpSp>
        <p:pic>
          <p:nvPicPr>
            <p:cNvPr id="256" name="Picture 7" descr="http://images.clipartpanda.com/water-faucet-clipart-black-and-white-7599037-dripping-tap.jp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392832" y="2699919"/>
              <a:ext cx="311791" cy="657989"/>
            </a:xfrm>
            <a:prstGeom prst="rect">
              <a:avLst/>
            </a:prstGeom>
            <a:noFill/>
          </p:spPr>
        </p:pic>
        <p:sp>
          <p:nvSpPr>
            <p:cNvPr id="257" name="Freeform 256"/>
            <p:cNvSpPr/>
            <p:nvPr/>
          </p:nvSpPr>
          <p:spPr>
            <a:xfrm>
              <a:off x="4254502" y="3564770"/>
              <a:ext cx="276659" cy="213861"/>
            </a:xfrm>
            <a:custGeom>
              <a:avLst/>
              <a:gdLst>
                <a:gd name="connsiteX0" fmla="*/ 0 w 516732"/>
                <a:gd name="connsiteY0" fmla="*/ 42862 h 392906"/>
                <a:gd name="connsiteX1" fmla="*/ 359569 w 516732"/>
                <a:gd name="connsiteY1" fmla="*/ 0 h 392906"/>
                <a:gd name="connsiteX2" fmla="*/ 359569 w 516732"/>
                <a:gd name="connsiteY2" fmla="*/ 9525 h 392906"/>
                <a:gd name="connsiteX3" fmla="*/ 404813 w 516732"/>
                <a:gd name="connsiteY3" fmla="*/ 19050 h 392906"/>
                <a:gd name="connsiteX4" fmla="*/ 516732 w 516732"/>
                <a:gd name="connsiteY4" fmla="*/ 273844 h 392906"/>
                <a:gd name="connsiteX5" fmla="*/ 490538 w 516732"/>
                <a:gd name="connsiteY5" fmla="*/ 285750 h 392906"/>
                <a:gd name="connsiteX6" fmla="*/ 383382 w 516732"/>
                <a:gd name="connsiteY6" fmla="*/ 52387 h 392906"/>
                <a:gd name="connsiteX7" fmla="*/ 350044 w 516732"/>
                <a:gd name="connsiteY7" fmla="*/ 54769 h 392906"/>
                <a:gd name="connsiteX8" fmla="*/ 340519 w 516732"/>
                <a:gd name="connsiteY8" fmla="*/ 83344 h 392906"/>
                <a:gd name="connsiteX9" fmla="*/ 335757 w 516732"/>
                <a:gd name="connsiteY9" fmla="*/ 388144 h 392906"/>
                <a:gd name="connsiteX10" fmla="*/ 104775 w 516732"/>
                <a:gd name="connsiteY10" fmla="*/ 392906 h 392906"/>
                <a:gd name="connsiteX11" fmla="*/ 57150 w 516732"/>
                <a:gd name="connsiteY11" fmla="*/ 83344 h 392906"/>
                <a:gd name="connsiteX12" fmla="*/ 0 w 516732"/>
                <a:gd name="connsiteY12" fmla="*/ 42862 h 39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6732" h="392906">
                  <a:moveTo>
                    <a:pt x="0" y="42862"/>
                  </a:moveTo>
                  <a:lnTo>
                    <a:pt x="359569" y="0"/>
                  </a:lnTo>
                  <a:lnTo>
                    <a:pt x="359569" y="9525"/>
                  </a:lnTo>
                  <a:lnTo>
                    <a:pt x="404813" y="19050"/>
                  </a:lnTo>
                  <a:cubicBezTo>
                    <a:pt x="442414" y="103851"/>
                    <a:pt x="516732" y="181080"/>
                    <a:pt x="516732" y="273844"/>
                  </a:cubicBezTo>
                  <a:lnTo>
                    <a:pt x="490538" y="285750"/>
                  </a:lnTo>
                  <a:lnTo>
                    <a:pt x="383382" y="52387"/>
                  </a:lnTo>
                  <a:lnTo>
                    <a:pt x="350044" y="54769"/>
                  </a:lnTo>
                  <a:lnTo>
                    <a:pt x="340519" y="83344"/>
                  </a:lnTo>
                  <a:cubicBezTo>
                    <a:pt x="338932" y="184944"/>
                    <a:pt x="337344" y="286544"/>
                    <a:pt x="335757" y="388144"/>
                  </a:cubicBezTo>
                  <a:lnTo>
                    <a:pt x="104775" y="392906"/>
                  </a:lnTo>
                  <a:lnTo>
                    <a:pt x="57150" y="83344"/>
                  </a:lnTo>
                  <a:lnTo>
                    <a:pt x="0" y="42862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endParaRPr>
            </a:p>
          </p:txBody>
        </p:sp>
        <p:sp>
          <p:nvSpPr>
            <p:cNvPr id="258" name="Flowchart: Manual Operation 257"/>
            <p:cNvSpPr/>
            <p:nvPr/>
          </p:nvSpPr>
          <p:spPr>
            <a:xfrm>
              <a:off x="4513129" y="3295809"/>
              <a:ext cx="382989" cy="375892"/>
            </a:xfrm>
            <a:prstGeom prst="flowChartManualOperation">
              <a:avLst/>
            </a:prstGeom>
            <a:solidFill>
              <a:sysClr val="window" lastClr="FFFFFF"/>
            </a:solidFill>
            <a:ln w="9525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endParaRPr>
            </a:p>
          </p:txBody>
        </p:sp>
      </p:grpSp>
      <p:pic>
        <p:nvPicPr>
          <p:cNvPr id="268" name="Picture 4" descr="https://encrypted-tbn2.gstatic.com/images?q=tbn:ANd9GcR2szAWdhB62sybKt5AZwHFJ0U_RujYRpOCNroDLRfdL0_LLAIC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5" r="8412"/>
          <a:stretch/>
        </p:blipFill>
        <p:spPr bwMode="auto">
          <a:xfrm flipH="1">
            <a:off x="7429617" y="3139975"/>
            <a:ext cx="623388" cy="792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9" name="TextBox 268"/>
          <p:cNvSpPr txBox="1"/>
          <p:nvPr/>
        </p:nvSpPr>
        <p:spPr>
          <a:xfrm>
            <a:off x="7453047" y="4026148"/>
            <a:ext cx="11036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Calibri"/>
              </a:rPr>
              <a:t>1.8 m</a:t>
            </a:r>
            <a:r>
              <a:rPr lang="en-US" baseline="30000" dirty="0" smtClean="0">
                <a:latin typeface="Calibri"/>
              </a:rPr>
              <a:t>2</a:t>
            </a:r>
            <a:endParaRPr lang="en-US" baseline="30000" dirty="0">
              <a:latin typeface="Calibri"/>
            </a:endParaRPr>
          </a:p>
        </p:txBody>
      </p:sp>
      <p:grpSp>
        <p:nvGrpSpPr>
          <p:cNvPr id="270" name="Group 269"/>
          <p:cNvGrpSpPr/>
          <p:nvPr/>
        </p:nvGrpSpPr>
        <p:grpSpPr>
          <a:xfrm>
            <a:off x="63501" y="1740150"/>
            <a:ext cx="2971799" cy="3441450"/>
            <a:chOff x="63501" y="1219202"/>
            <a:chExt cx="2971799" cy="3441450"/>
          </a:xfrm>
        </p:grpSpPr>
        <p:sp>
          <p:nvSpPr>
            <p:cNvPr id="271" name="Parallelogram 2"/>
            <p:cNvSpPr/>
            <p:nvPr/>
          </p:nvSpPr>
          <p:spPr>
            <a:xfrm>
              <a:off x="620331" y="3400957"/>
              <a:ext cx="1439560" cy="541489"/>
            </a:xfrm>
            <a:custGeom>
              <a:avLst/>
              <a:gdLst>
                <a:gd name="connsiteX0" fmla="*/ 0 w 2468880"/>
                <a:gd name="connsiteY0" fmla="*/ 640080 h 640080"/>
                <a:gd name="connsiteX1" fmla="*/ 684681 w 2468880"/>
                <a:gd name="connsiteY1" fmla="*/ 0 h 640080"/>
                <a:gd name="connsiteX2" fmla="*/ 2468880 w 2468880"/>
                <a:gd name="connsiteY2" fmla="*/ 0 h 640080"/>
                <a:gd name="connsiteX3" fmla="*/ 1784199 w 2468880"/>
                <a:gd name="connsiteY3" fmla="*/ 640080 h 640080"/>
                <a:gd name="connsiteX4" fmla="*/ 0 w 2468880"/>
                <a:gd name="connsiteY4" fmla="*/ 640080 h 640080"/>
                <a:gd name="connsiteX0" fmla="*/ 0 w 2468880"/>
                <a:gd name="connsiteY0" fmla="*/ 640080 h 646430"/>
                <a:gd name="connsiteX1" fmla="*/ 684681 w 2468880"/>
                <a:gd name="connsiteY1" fmla="*/ 0 h 646430"/>
                <a:gd name="connsiteX2" fmla="*/ 2468880 w 2468880"/>
                <a:gd name="connsiteY2" fmla="*/ 0 h 646430"/>
                <a:gd name="connsiteX3" fmla="*/ 1809599 w 2468880"/>
                <a:gd name="connsiteY3" fmla="*/ 646430 h 646430"/>
                <a:gd name="connsiteX4" fmla="*/ 0 w 2468880"/>
                <a:gd name="connsiteY4" fmla="*/ 640080 h 646430"/>
                <a:gd name="connsiteX0" fmla="*/ 0 w 1814830"/>
                <a:gd name="connsiteY0" fmla="*/ 646430 h 652780"/>
                <a:gd name="connsiteX1" fmla="*/ 684681 w 1814830"/>
                <a:gd name="connsiteY1" fmla="*/ 6350 h 652780"/>
                <a:gd name="connsiteX2" fmla="*/ 1814830 w 1814830"/>
                <a:gd name="connsiteY2" fmla="*/ 0 h 652780"/>
                <a:gd name="connsiteX3" fmla="*/ 1809599 w 1814830"/>
                <a:gd name="connsiteY3" fmla="*/ 652780 h 652780"/>
                <a:gd name="connsiteX4" fmla="*/ 0 w 1814830"/>
                <a:gd name="connsiteY4" fmla="*/ 646430 h 65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4830" h="652780">
                  <a:moveTo>
                    <a:pt x="0" y="646430"/>
                  </a:moveTo>
                  <a:lnTo>
                    <a:pt x="684681" y="6350"/>
                  </a:lnTo>
                  <a:lnTo>
                    <a:pt x="1814830" y="0"/>
                  </a:lnTo>
                  <a:cubicBezTo>
                    <a:pt x="1813086" y="217593"/>
                    <a:pt x="1811343" y="435187"/>
                    <a:pt x="1809599" y="652780"/>
                  </a:cubicBezTo>
                  <a:lnTo>
                    <a:pt x="0" y="64643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  <a:ln w="254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72" name="Group 271"/>
            <p:cNvGrpSpPr/>
            <p:nvPr/>
          </p:nvGrpSpPr>
          <p:grpSpPr>
            <a:xfrm>
              <a:off x="506752" y="1219202"/>
              <a:ext cx="2127358" cy="2717977"/>
              <a:chOff x="1278555" y="4429439"/>
              <a:chExt cx="1504864" cy="1666561"/>
            </a:xfrm>
          </p:grpSpPr>
          <p:sp>
            <p:nvSpPr>
              <p:cNvPr id="281" name="Cube 280"/>
              <p:cNvSpPr/>
              <p:nvPr/>
            </p:nvSpPr>
            <p:spPr>
              <a:xfrm>
                <a:off x="1358900" y="4495800"/>
                <a:ext cx="1361381" cy="1600200"/>
              </a:xfrm>
              <a:prstGeom prst="cub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2" name="Cube 281"/>
              <p:cNvSpPr/>
              <p:nvPr/>
            </p:nvSpPr>
            <p:spPr>
              <a:xfrm>
                <a:off x="1278555" y="4429439"/>
                <a:ext cx="1504864" cy="447675"/>
              </a:xfrm>
              <a:prstGeom prst="cube">
                <a:avLst>
                  <a:gd name="adj" fmla="val 78571"/>
                </a:avLst>
              </a:prstGeom>
              <a:solidFill>
                <a:sysClr val="window" lastClr="FFFFFF"/>
              </a:soli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3" name="Rectangle 282"/>
              <p:cNvSpPr/>
              <p:nvPr/>
            </p:nvSpPr>
            <p:spPr>
              <a:xfrm>
                <a:off x="2416944" y="5006491"/>
                <a:ext cx="329269" cy="990600"/>
              </a:xfrm>
              <a:prstGeom prst="rect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  <a:scene3d>
                <a:camera prst="isometricLeftDown">
                  <a:rot lat="2100000" lon="7140000" rev="0"/>
                </a:camera>
                <a:lightRig rig="threePt" dir="t"/>
              </a:scene3d>
            </p:spPr>
            <p:txBody>
              <a:bodyPr rtlCol="0" anchor="ctr"/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36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.</a:t>
                </a:r>
              </a:p>
            </p:txBody>
          </p:sp>
        </p:grpSp>
        <p:cxnSp>
          <p:nvCxnSpPr>
            <p:cNvPr id="273" name="Straight Arrow Connector 272"/>
            <p:cNvCxnSpPr/>
            <p:nvPr/>
          </p:nvCxnSpPr>
          <p:spPr>
            <a:xfrm flipH="1">
              <a:off x="2199167" y="3534864"/>
              <a:ext cx="483547" cy="482011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  <p:cxnSp>
          <p:nvCxnSpPr>
            <p:cNvPr id="274" name="Straight Arrow Connector 273"/>
            <p:cNvCxnSpPr/>
            <p:nvPr/>
          </p:nvCxnSpPr>
          <p:spPr>
            <a:xfrm flipH="1">
              <a:off x="617352" y="4143292"/>
              <a:ext cx="1442539" cy="0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  <p:sp>
          <p:nvSpPr>
            <p:cNvPr id="275" name="TextBox 274"/>
            <p:cNvSpPr txBox="1"/>
            <p:nvPr/>
          </p:nvSpPr>
          <p:spPr>
            <a:xfrm>
              <a:off x="2430866" y="3766388"/>
              <a:ext cx="6044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</a:rPr>
                <a:t>0.9 m</a:t>
              </a:r>
            </a:p>
          </p:txBody>
        </p:sp>
        <p:sp>
          <p:nvSpPr>
            <p:cNvPr id="276" name="TextBox 275"/>
            <p:cNvSpPr txBox="1"/>
            <p:nvPr/>
          </p:nvSpPr>
          <p:spPr>
            <a:xfrm>
              <a:off x="1086885" y="4352875"/>
              <a:ext cx="6044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</a:rPr>
                <a:t>1.2 m</a:t>
              </a:r>
            </a:p>
          </p:txBody>
        </p:sp>
        <p:cxnSp>
          <p:nvCxnSpPr>
            <p:cNvPr id="277" name="Straight Arrow Connector 276"/>
            <p:cNvCxnSpPr/>
            <p:nvPr/>
          </p:nvCxnSpPr>
          <p:spPr>
            <a:xfrm>
              <a:off x="385866" y="1949311"/>
              <a:ext cx="0" cy="1993135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  <p:sp>
          <p:nvSpPr>
            <p:cNvPr id="278" name="TextBox 277"/>
            <p:cNvSpPr txBox="1"/>
            <p:nvPr/>
          </p:nvSpPr>
          <p:spPr>
            <a:xfrm>
              <a:off x="63501" y="2666564"/>
              <a:ext cx="6044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</a:rPr>
                <a:t>2.1 m</a:t>
              </a:r>
            </a:p>
          </p:txBody>
        </p:sp>
        <p:cxnSp>
          <p:nvCxnSpPr>
            <p:cNvPr id="279" name="Straight Connector 278"/>
            <p:cNvCxnSpPr/>
            <p:nvPr/>
          </p:nvCxnSpPr>
          <p:spPr>
            <a:xfrm flipV="1">
              <a:off x="1158118" y="1954127"/>
              <a:ext cx="0" cy="1456913"/>
            </a:xfrm>
            <a:prstGeom prst="line">
              <a:avLst/>
            </a:prstGeom>
            <a:solidFill>
              <a:sysClr val="window" lastClr="FFFFFF">
                <a:lumMod val="85000"/>
              </a:sysClr>
            </a:solidFill>
            <a:ln w="25400" cap="flat" cmpd="sng" algn="ctr">
              <a:solidFill>
                <a:sysClr val="window" lastClr="FFFFFF">
                  <a:lumMod val="65000"/>
                </a:sysClr>
              </a:solidFill>
              <a:prstDash val="solid"/>
            </a:ln>
            <a:effectLst/>
          </p:spPr>
        </p:cxnSp>
        <p:pic>
          <p:nvPicPr>
            <p:cNvPr id="280" name="Picture 4" descr="https://encrypted-tbn2.gstatic.com/images?q=tbn:ANd9GcR2szAWdhB62sybKt5AZwHFJ0U_RujYRpOCNroDLRfdL0_LLAIC"/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25" r="8412"/>
            <a:stretch/>
          </p:blipFill>
          <p:spPr bwMode="auto">
            <a:xfrm flipH="1">
              <a:off x="869413" y="2539773"/>
              <a:ext cx="965460" cy="1226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4" name="Rectangle 283"/>
          <p:cNvSpPr/>
          <p:nvPr/>
        </p:nvSpPr>
        <p:spPr>
          <a:xfrm>
            <a:off x="101605" y="990600"/>
            <a:ext cx="2870196" cy="5181600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85" name="Rectangle 284"/>
          <p:cNvSpPr/>
          <p:nvPr/>
        </p:nvSpPr>
        <p:spPr>
          <a:xfrm>
            <a:off x="3035300" y="990600"/>
            <a:ext cx="2733914" cy="5181600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नानगृह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86" name="Rectangle 285"/>
          <p:cNvSpPr/>
          <p:nvPr/>
        </p:nvSpPr>
        <p:spPr>
          <a:xfrm>
            <a:off x="5829752" y="990600"/>
            <a:ext cx="3200400" cy="5181600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एक</a:t>
            </a:r>
            <a:r>
              <a:rPr lang="mr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्रित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152400" y="6629400"/>
            <a:ext cx="91295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0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त्रोत: महाराष्ट्रातील नगर पंचायत व नगर परिषद – विकास नियंत्रण व प्रसार</a:t>
            </a:r>
            <a:endParaRPr lang="en-US" sz="10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9026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440" y="217265"/>
            <a:ext cx="8812066" cy="470968"/>
          </a:xfrm>
        </p:spPr>
        <p:txBody>
          <a:bodyPr>
            <a:normAutofit fontScale="90000"/>
          </a:bodyPr>
          <a:lstStyle/>
          <a:p>
            <a:pPr lvl="2" algn="l" rtl="0">
              <a:spcBef>
                <a:spcPct val="0"/>
              </a:spcBef>
            </a:pPr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 </a:t>
            </a:r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ुठे बांधावी ?</a:t>
            </a:r>
            <a:r>
              <a:rPr lang="en-US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. .</a:t>
            </a:r>
          </a:p>
        </p:txBody>
      </p:sp>
      <p:sp>
        <p:nvSpPr>
          <p:cNvPr id="470" name="Rectangle 469"/>
          <p:cNvSpPr/>
          <p:nvPr/>
        </p:nvSpPr>
        <p:spPr>
          <a:xfrm>
            <a:off x="3606295" y="813489"/>
            <a:ext cx="5385305" cy="5815911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इमार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ी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ासून दूर </a:t>
            </a:r>
            <a:r>
              <a:rPr lang="hi-IN" dirty="0" smtClean="0"/>
              <a:t> 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रच्या बाजूला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ील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करून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आणि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		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इमार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ीच्या खालील बाजूस असू नये</a:t>
            </a:r>
            <a:r>
              <a:rPr lang="mr-IN" dirty="0" smtClean="0"/>
              <a:t>.</a:t>
            </a:r>
            <a:endParaRPr kumimoji="0" lang="en-US" sz="2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 algn="r">
              <a:spcBef>
                <a:spcPts val="600"/>
              </a:spcBef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	         </a:t>
            </a:r>
            <a:endParaRPr kumimoji="0" lang="mr-IN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 algn="r">
              <a:spcBef>
                <a:spcPts val="600"/>
              </a:spcBef>
              <a:defRPr/>
            </a:pPr>
            <a:endParaRPr lang="mr-IN" kern="0" dirty="0">
              <a:solidFill>
                <a:prstClr val="black"/>
              </a:solidFill>
              <a:latin typeface="Calibri"/>
            </a:endParaRPr>
          </a:p>
          <a:p>
            <a:pPr lvl="0" algn="r">
              <a:spcBef>
                <a:spcPts val="600"/>
              </a:spcBef>
              <a:defRPr/>
            </a:pPr>
            <a:endParaRPr kumimoji="0" lang="mr-IN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pSp>
        <p:nvGrpSpPr>
          <p:cNvPr id="471" name="Group 470"/>
          <p:cNvGrpSpPr/>
          <p:nvPr/>
        </p:nvGrpSpPr>
        <p:grpSpPr>
          <a:xfrm>
            <a:off x="3754161" y="4981623"/>
            <a:ext cx="2189436" cy="1563520"/>
            <a:chOff x="4800627" y="2979547"/>
            <a:chExt cx="1219926" cy="1033627"/>
          </a:xfrm>
        </p:grpSpPr>
        <p:sp>
          <p:nvSpPr>
            <p:cNvPr id="472" name="Rectangle 471"/>
            <p:cNvSpPr/>
            <p:nvPr/>
          </p:nvSpPr>
          <p:spPr>
            <a:xfrm>
              <a:off x="5542344" y="3373919"/>
              <a:ext cx="246546" cy="388267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73" name="Picture 4" descr="https://encrypted-tbn2.gstatic.com/images?q=tbn:ANd9GcR2szAWdhB62sybKt5AZwHFJ0U_RujYRpOCNroDLRfdL0_LLAIC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5266" y="3551544"/>
              <a:ext cx="205167" cy="2140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4" name="Group 473"/>
            <p:cNvGrpSpPr/>
            <p:nvPr/>
          </p:nvGrpSpPr>
          <p:grpSpPr>
            <a:xfrm>
              <a:off x="4800627" y="2979547"/>
              <a:ext cx="1219926" cy="1033627"/>
              <a:chOff x="1292828" y="1591448"/>
              <a:chExt cx="1508172" cy="1219200"/>
            </a:xfrm>
          </p:grpSpPr>
          <p:cxnSp>
            <p:nvCxnSpPr>
              <p:cNvPr id="475" name="Straight Connector 474"/>
              <p:cNvCxnSpPr/>
              <p:nvPr/>
            </p:nvCxnSpPr>
            <p:spPr>
              <a:xfrm>
                <a:off x="1292828" y="2502922"/>
                <a:ext cx="1508172" cy="1632"/>
              </a:xfrm>
              <a:prstGeom prst="lin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476" name="Rectangle 475"/>
              <p:cNvSpPr/>
              <p:nvPr/>
            </p:nvSpPr>
            <p:spPr>
              <a:xfrm>
                <a:off x="1676400" y="1972448"/>
                <a:ext cx="533400" cy="533400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7" name="Isosceles Triangle 476"/>
              <p:cNvSpPr/>
              <p:nvPr/>
            </p:nvSpPr>
            <p:spPr>
              <a:xfrm>
                <a:off x="1524000" y="1591448"/>
                <a:ext cx="838200" cy="381000"/>
              </a:xfrm>
              <a:prstGeom prst="triangl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8" name="Rectangle 477"/>
              <p:cNvSpPr/>
              <p:nvPr/>
            </p:nvSpPr>
            <p:spPr>
              <a:xfrm>
                <a:off x="1981200" y="2505848"/>
                <a:ext cx="533400" cy="304800"/>
              </a:xfrm>
              <a:prstGeom prst="rect">
                <a:avLst/>
              </a:prstGeom>
              <a:gradFill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5400000" scaled="0"/>
              </a:gra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79" name="Group 478"/>
          <p:cNvGrpSpPr/>
          <p:nvPr/>
        </p:nvGrpSpPr>
        <p:grpSpPr>
          <a:xfrm>
            <a:off x="6592048" y="1545099"/>
            <a:ext cx="2106327" cy="1563520"/>
            <a:chOff x="17804606" y="8314190"/>
            <a:chExt cx="2438344" cy="1769121"/>
          </a:xfrm>
        </p:grpSpPr>
        <p:grpSp>
          <p:nvGrpSpPr>
            <p:cNvPr id="480" name="Group 479"/>
            <p:cNvGrpSpPr/>
            <p:nvPr/>
          </p:nvGrpSpPr>
          <p:grpSpPr>
            <a:xfrm>
              <a:off x="17804606" y="8314190"/>
              <a:ext cx="2438344" cy="1769121"/>
              <a:chOff x="1273298" y="1608952"/>
              <a:chExt cx="1450922" cy="1219200"/>
            </a:xfrm>
          </p:grpSpPr>
          <p:cxnSp>
            <p:nvCxnSpPr>
              <p:cNvPr id="482" name="Elbow Connector 481"/>
              <p:cNvCxnSpPr>
                <a:stCxn id="484" idx="2"/>
                <a:endCxn id="486" idx="1"/>
              </p:cNvCxnSpPr>
              <p:nvPr/>
            </p:nvCxnSpPr>
            <p:spPr>
              <a:xfrm rot="16200000" flipH="1">
                <a:off x="1924050" y="2542402"/>
                <a:ext cx="152400" cy="114300"/>
              </a:xfrm>
              <a:prstGeom prst="bentConnector2">
                <a:avLst/>
              </a:prstGeom>
              <a:noFill/>
              <a:ln w="76200" cap="flat" cmpd="sng" algn="ctr">
                <a:solidFill>
                  <a:srgbClr val="F79646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483" name="Straight Connector 482"/>
              <p:cNvCxnSpPr/>
              <p:nvPr/>
            </p:nvCxnSpPr>
            <p:spPr>
              <a:xfrm flipV="1">
                <a:off x="1273298" y="2518638"/>
                <a:ext cx="1450922" cy="1"/>
              </a:xfrm>
              <a:prstGeom prst="lin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484" name="Rectangle 483"/>
              <p:cNvSpPr/>
              <p:nvPr/>
            </p:nvSpPr>
            <p:spPr>
              <a:xfrm>
                <a:off x="1676400" y="1989952"/>
                <a:ext cx="533400" cy="533400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5" name="Isosceles Triangle 484"/>
              <p:cNvSpPr/>
              <p:nvPr/>
            </p:nvSpPr>
            <p:spPr>
              <a:xfrm>
                <a:off x="1524000" y="1608952"/>
                <a:ext cx="838200" cy="381000"/>
              </a:xfrm>
              <a:prstGeom prst="triangl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6" name="Rectangle 485"/>
              <p:cNvSpPr/>
              <p:nvPr/>
            </p:nvSpPr>
            <p:spPr>
              <a:xfrm>
                <a:off x="2057400" y="2523352"/>
                <a:ext cx="533400" cy="304800"/>
              </a:xfrm>
              <a:prstGeom prst="rect">
                <a:avLst/>
              </a:prstGeom>
              <a:gradFill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5400000" scaled="0"/>
              </a:gra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481" name="Straight Connector 480"/>
            <p:cNvCxnSpPr/>
            <p:nvPr/>
          </p:nvCxnSpPr>
          <p:spPr>
            <a:xfrm flipV="1">
              <a:off x="19122327" y="9676567"/>
              <a:ext cx="896404" cy="1"/>
            </a:xfrm>
            <a:prstGeom prst="line">
              <a:avLst/>
            </a:prstGeom>
            <a:noFill/>
            <a:ln w="85725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grpSp>
        <p:nvGrpSpPr>
          <p:cNvPr id="487" name="Group 486"/>
          <p:cNvGrpSpPr/>
          <p:nvPr/>
        </p:nvGrpSpPr>
        <p:grpSpPr>
          <a:xfrm>
            <a:off x="3911565" y="1521946"/>
            <a:ext cx="2909310" cy="1584029"/>
            <a:chOff x="9538132" y="8292267"/>
            <a:chExt cx="3367900" cy="1792327"/>
          </a:xfrm>
        </p:grpSpPr>
        <p:grpSp>
          <p:nvGrpSpPr>
            <p:cNvPr id="488" name="Group 487"/>
            <p:cNvGrpSpPr/>
            <p:nvPr/>
          </p:nvGrpSpPr>
          <p:grpSpPr>
            <a:xfrm>
              <a:off x="9538132" y="8292267"/>
              <a:ext cx="3367900" cy="1781821"/>
              <a:chOff x="1501152" y="1591448"/>
              <a:chExt cx="2004048" cy="1227952"/>
            </a:xfrm>
          </p:grpSpPr>
          <p:cxnSp>
            <p:nvCxnSpPr>
              <p:cNvPr id="491" name="Elbow Connector 490"/>
              <p:cNvCxnSpPr>
                <a:stCxn id="493" idx="2"/>
                <a:endCxn id="495" idx="1"/>
              </p:cNvCxnSpPr>
              <p:nvPr/>
            </p:nvCxnSpPr>
            <p:spPr>
              <a:xfrm rot="16200000" flipH="1">
                <a:off x="2072074" y="2376873"/>
                <a:ext cx="161153" cy="419099"/>
              </a:xfrm>
              <a:prstGeom prst="bentConnector2">
                <a:avLst/>
              </a:prstGeom>
              <a:noFill/>
              <a:ln w="76200" cap="flat" cmpd="sng" algn="ctr">
                <a:solidFill>
                  <a:srgbClr val="F79646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492" name="Straight Connector 491"/>
              <p:cNvCxnSpPr/>
              <p:nvPr/>
            </p:nvCxnSpPr>
            <p:spPr>
              <a:xfrm>
                <a:off x="1501152" y="2505717"/>
                <a:ext cx="2004048" cy="8882"/>
              </a:xfrm>
              <a:prstGeom prst="lin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493" name="Rectangle 492"/>
              <p:cNvSpPr/>
              <p:nvPr/>
            </p:nvSpPr>
            <p:spPr>
              <a:xfrm>
                <a:off x="1676400" y="1972447"/>
                <a:ext cx="533400" cy="533400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4" name="Isosceles Triangle 493"/>
              <p:cNvSpPr/>
              <p:nvPr/>
            </p:nvSpPr>
            <p:spPr>
              <a:xfrm>
                <a:off x="1524000" y="1591448"/>
                <a:ext cx="838200" cy="381000"/>
              </a:xfrm>
              <a:prstGeom prst="triangl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5" name="Rectangle 494"/>
              <p:cNvSpPr/>
              <p:nvPr/>
            </p:nvSpPr>
            <p:spPr>
              <a:xfrm>
                <a:off x="2362200" y="2514600"/>
                <a:ext cx="533400" cy="304800"/>
              </a:xfrm>
              <a:prstGeom prst="rect">
                <a:avLst/>
              </a:prstGeom>
              <a:gradFill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5400000" scaled="0"/>
              </a:gra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496" name="Straight Connector 495"/>
              <p:cNvCxnSpPr/>
              <p:nvPr/>
            </p:nvCxnSpPr>
            <p:spPr>
              <a:xfrm>
                <a:off x="2362200" y="2514599"/>
                <a:ext cx="533400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" lastClr="FFFFFF"/>
                </a:solidFill>
                <a:prstDash val="sysDot"/>
              </a:ln>
              <a:effectLst/>
            </p:spPr>
          </p:cxnSp>
          <p:cxnSp>
            <p:nvCxnSpPr>
              <p:cNvPr id="497" name="Straight Connector 496"/>
              <p:cNvCxnSpPr/>
              <p:nvPr/>
            </p:nvCxnSpPr>
            <p:spPr>
              <a:xfrm rot="-1080000">
                <a:off x="2349147" y="2432185"/>
                <a:ext cx="533400" cy="0"/>
              </a:xfrm>
              <a:prstGeom prst="line">
                <a:avLst/>
              </a:prstGeom>
              <a:gradFill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5400000" scaled="0"/>
              </a:gra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</p:grpSp>
        <p:cxnSp>
          <p:nvCxnSpPr>
            <p:cNvPr id="489" name="Straight Connector 488"/>
            <p:cNvCxnSpPr/>
            <p:nvPr/>
          </p:nvCxnSpPr>
          <p:spPr>
            <a:xfrm>
              <a:off x="11556206" y="9647959"/>
              <a:ext cx="0" cy="157625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90" name="Straight Connector 489"/>
            <p:cNvCxnSpPr/>
            <p:nvPr/>
          </p:nvCxnSpPr>
          <p:spPr>
            <a:xfrm>
              <a:off x="11556206" y="9923615"/>
              <a:ext cx="0" cy="160979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grpSp>
        <p:nvGrpSpPr>
          <p:cNvPr id="498" name="Group 497"/>
          <p:cNvGrpSpPr/>
          <p:nvPr/>
        </p:nvGrpSpPr>
        <p:grpSpPr>
          <a:xfrm>
            <a:off x="5932170" y="4970193"/>
            <a:ext cx="2689212" cy="1564450"/>
            <a:chOff x="11872098" y="8314421"/>
            <a:chExt cx="3113108" cy="1770173"/>
          </a:xfrm>
        </p:grpSpPr>
        <p:grpSp>
          <p:nvGrpSpPr>
            <p:cNvPr id="499" name="Group 498"/>
            <p:cNvGrpSpPr/>
            <p:nvPr/>
          </p:nvGrpSpPr>
          <p:grpSpPr>
            <a:xfrm>
              <a:off x="11872098" y="8314421"/>
              <a:ext cx="3113108" cy="1770173"/>
              <a:chOff x="4653863" y="1854150"/>
              <a:chExt cx="1498395" cy="1034242"/>
            </a:xfrm>
          </p:grpSpPr>
          <p:sp>
            <p:nvSpPr>
              <p:cNvPr id="503" name="Isosceles Triangle 502"/>
              <p:cNvSpPr/>
              <p:nvPr/>
            </p:nvSpPr>
            <p:spPr>
              <a:xfrm>
                <a:off x="5135256" y="1854150"/>
                <a:ext cx="678001" cy="323008"/>
              </a:xfrm>
              <a:prstGeom prst="triangle">
                <a:avLst/>
              </a:prstGeom>
              <a:noFill/>
              <a:ln w="2540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4" name="Rectangle 503"/>
              <p:cNvSpPr/>
              <p:nvPr/>
            </p:nvSpPr>
            <p:spPr>
              <a:xfrm>
                <a:off x="5763320" y="2181196"/>
                <a:ext cx="234847" cy="452211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5" name="Isosceles Triangle 504"/>
              <p:cNvSpPr/>
              <p:nvPr/>
            </p:nvSpPr>
            <p:spPr>
              <a:xfrm>
                <a:off x="5474256" y="1858187"/>
                <a:ext cx="678001" cy="323008"/>
              </a:xfrm>
              <a:prstGeom prst="triangle">
                <a:avLst/>
              </a:prstGeom>
              <a:solidFill>
                <a:sysClr val="window" lastClr="FFFFFF"/>
              </a:solidFill>
              <a:ln w="2540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6" name="Rectangle 505"/>
              <p:cNvSpPr/>
              <p:nvPr/>
            </p:nvSpPr>
            <p:spPr>
              <a:xfrm>
                <a:off x="4860967" y="2177773"/>
                <a:ext cx="224639" cy="452211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7" name="Isosceles Triangle 506"/>
              <p:cNvSpPr/>
              <p:nvPr/>
            </p:nvSpPr>
            <p:spPr>
              <a:xfrm>
                <a:off x="4737695" y="1854764"/>
                <a:ext cx="678001" cy="323008"/>
              </a:xfrm>
              <a:prstGeom prst="triangle">
                <a:avLst/>
              </a:prstGeom>
              <a:noFill/>
              <a:ln w="25400" cap="flat" cmpd="sng" algn="ctr">
                <a:solidFill>
                  <a:sysClr val="window" lastClr="FFFFFF">
                    <a:lumMod val="75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508" name="Group 507"/>
              <p:cNvGrpSpPr/>
              <p:nvPr/>
            </p:nvGrpSpPr>
            <p:grpSpPr>
              <a:xfrm>
                <a:off x="4653863" y="1854766"/>
                <a:ext cx="1498395" cy="1033626"/>
                <a:chOff x="1143000" y="1600200"/>
                <a:chExt cx="1852437" cy="1219200"/>
              </a:xfrm>
            </p:grpSpPr>
            <p:cxnSp>
              <p:nvCxnSpPr>
                <p:cNvPr id="511" name="Straight Connector 510"/>
                <p:cNvCxnSpPr/>
                <p:nvPr/>
              </p:nvCxnSpPr>
              <p:spPr>
                <a:xfrm>
                  <a:off x="1143000" y="2514601"/>
                  <a:ext cx="1852437" cy="4035"/>
                </a:xfrm>
                <a:prstGeom prst="line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sp>
              <p:nvSpPr>
                <p:cNvPr id="512" name="Rectangle 511"/>
                <p:cNvSpPr/>
                <p:nvPr/>
              </p:nvSpPr>
              <p:spPr>
                <a:xfrm>
                  <a:off x="1676400" y="1981200"/>
                  <a:ext cx="533400" cy="533400"/>
                </a:xfrm>
                <a:prstGeom prst="rect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3" name="Isosceles Triangle 512"/>
                <p:cNvSpPr/>
                <p:nvPr/>
              </p:nvSpPr>
              <p:spPr>
                <a:xfrm>
                  <a:off x="1524000" y="1600200"/>
                  <a:ext cx="838200" cy="381000"/>
                </a:xfrm>
                <a:prstGeom prst="triangle">
                  <a:avLst/>
                </a:prstGeom>
                <a:solidFill>
                  <a:sysClr val="window" lastClr="FFFFFF"/>
                </a:solidFill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14" name="Rectangle 513"/>
                <p:cNvSpPr/>
                <p:nvPr/>
              </p:nvSpPr>
              <p:spPr>
                <a:xfrm>
                  <a:off x="2209800" y="2514600"/>
                  <a:ext cx="533400" cy="304800"/>
                </a:xfrm>
                <a:prstGeom prst="rect">
                  <a:avLst/>
                </a:prstGeom>
                <a:gradFill>
                  <a:gsLst>
                    <a:gs pos="0">
                      <a:srgbClr val="D6B19C"/>
                    </a:gs>
                    <a:gs pos="30000">
                      <a:srgbClr val="D49E6C"/>
                    </a:gs>
                    <a:gs pos="70000">
                      <a:srgbClr val="A65528"/>
                    </a:gs>
                    <a:gs pos="100000">
                      <a:srgbClr val="663012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cxnSp>
              <p:nvCxnSpPr>
                <p:cNvPr id="515" name="Straight Connector 514"/>
                <p:cNvCxnSpPr/>
                <p:nvPr/>
              </p:nvCxnSpPr>
              <p:spPr>
                <a:xfrm>
                  <a:off x="2476500" y="2510563"/>
                  <a:ext cx="266700" cy="4037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ysClr val="window" lastClr="FFFFFF"/>
                  </a:solidFill>
                  <a:prstDash val="sysDot"/>
                </a:ln>
                <a:effectLst/>
              </p:spPr>
            </p:cxnSp>
            <p:cxnSp>
              <p:nvCxnSpPr>
                <p:cNvPr id="516" name="Straight Connector 515"/>
                <p:cNvCxnSpPr/>
                <p:nvPr/>
              </p:nvCxnSpPr>
              <p:spPr>
                <a:xfrm flipV="1">
                  <a:off x="2516434" y="2430544"/>
                  <a:ext cx="207783" cy="86453"/>
                </a:xfrm>
                <a:prstGeom prst="line">
                  <a:avLst/>
                </a:prstGeom>
                <a:gradFill>
                  <a:gsLst>
                    <a:gs pos="0">
                      <a:srgbClr val="D6B19C"/>
                    </a:gs>
                    <a:gs pos="30000">
                      <a:srgbClr val="D49E6C"/>
                    </a:gs>
                    <a:gs pos="70000">
                      <a:srgbClr val="A65528"/>
                    </a:gs>
                    <a:gs pos="100000">
                      <a:srgbClr val="663012"/>
                    </a:gs>
                  </a:gsLst>
                  <a:lin ang="5400000" scaled="0"/>
                </a:gradFill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</p:grpSp>
          <p:sp>
            <p:nvSpPr>
              <p:cNvPr id="509" name="Rectangle 508"/>
              <p:cNvSpPr/>
              <p:nvPr/>
            </p:nvSpPr>
            <p:spPr>
              <a:xfrm>
                <a:off x="5516773" y="2177775"/>
                <a:ext cx="246546" cy="452210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pic>
            <p:nvPicPr>
              <p:cNvPr id="510" name="Picture 4" descr="https://encrypted-tbn2.gstatic.com/images?q=tbn:ANd9GcR2szAWdhB62sybKt5AZwHFJ0U_RujYRpOCNroDLRfdL0_LLAIC"/>
              <p:cNvPicPr>
                <a:picLocks noChangeAspect="1" noChangeArrowheads="1"/>
              </p:cNvPicPr>
              <p:nvPr/>
            </p:nvPicPr>
            <p:blipFill>
              <a:blip r:embed="rId2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28759" y="2419343"/>
                <a:ext cx="162807" cy="21406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500" name="Straight Connector 499"/>
            <p:cNvCxnSpPr/>
            <p:nvPr/>
          </p:nvCxnSpPr>
          <p:spPr>
            <a:xfrm flipV="1">
              <a:off x="13889422" y="9507071"/>
              <a:ext cx="238501" cy="125448"/>
            </a:xfrm>
            <a:prstGeom prst="line">
              <a:avLst/>
            </a:prstGeom>
            <a:gradFill>
              <a:gsLst>
                <a:gs pos="0">
                  <a:srgbClr val="D6B19C"/>
                </a:gs>
                <a:gs pos="30000">
                  <a:srgbClr val="D49E6C"/>
                </a:gs>
                <a:gs pos="70000">
                  <a:srgbClr val="A65528"/>
                </a:gs>
                <a:gs pos="100000">
                  <a:srgbClr val="663012"/>
                </a:gs>
              </a:gsLst>
              <a:lin ang="5400000" scaled="0"/>
            </a:gra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01" name="Straight Connector 500"/>
            <p:cNvCxnSpPr/>
            <p:nvPr/>
          </p:nvCxnSpPr>
          <p:spPr>
            <a:xfrm>
              <a:off x="14223206" y="9647569"/>
              <a:ext cx="0" cy="157625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502" name="Straight Connector 501"/>
            <p:cNvCxnSpPr/>
            <p:nvPr/>
          </p:nvCxnSpPr>
          <p:spPr>
            <a:xfrm>
              <a:off x="14223206" y="9923615"/>
              <a:ext cx="0" cy="160979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grpSp>
        <p:nvGrpSpPr>
          <p:cNvPr id="517" name="Group 516"/>
          <p:cNvGrpSpPr/>
          <p:nvPr/>
        </p:nvGrpSpPr>
        <p:grpSpPr>
          <a:xfrm>
            <a:off x="182056" y="4156710"/>
            <a:ext cx="3191811" cy="2743200"/>
            <a:chOff x="14937272" y="18695194"/>
            <a:chExt cx="2581464" cy="2229938"/>
          </a:xfrm>
        </p:grpSpPr>
        <p:sp>
          <p:nvSpPr>
            <p:cNvPr id="518" name="Rectangle 517"/>
            <p:cNvSpPr/>
            <p:nvPr/>
          </p:nvSpPr>
          <p:spPr>
            <a:xfrm>
              <a:off x="14937272" y="19039953"/>
              <a:ext cx="2581464" cy="1885179"/>
            </a:xfrm>
            <a:prstGeom prst="rect">
              <a:avLst/>
            </a:prstGeom>
            <a:pattFill prst="dashUpDiag">
              <a:fgClr>
                <a:srgbClr val="FFC000"/>
              </a:fgClr>
              <a:bgClr>
                <a:sysClr val="window" lastClr="FFFFFF"/>
              </a:bgClr>
            </a:pattFill>
            <a:ln w="25400" cap="flat" cmpd="sng" algn="ctr">
              <a:noFill/>
              <a:prstDash val="solid"/>
            </a:ln>
            <a:effectLst>
              <a:softEdge rad="317500"/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519" name="Straight Connector 518"/>
            <p:cNvCxnSpPr>
              <a:stCxn id="524" idx="3"/>
            </p:cNvCxnSpPr>
            <p:nvPr/>
          </p:nvCxnSpPr>
          <p:spPr>
            <a:xfrm flipV="1">
              <a:off x="16535456" y="19409878"/>
              <a:ext cx="303132" cy="1"/>
            </a:xfrm>
            <a:prstGeom prst="line">
              <a:avLst/>
            </a:prstGeom>
            <a:noFill/>
            <a:ln w="76200" cap="flat" cmpd="sng" algn="ctr">
              <a:solidFill>
                <a:srgbClr val="F79646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520" name="Elbow Connector 519"/>
            <p:cNvCxnSpPr>
              <a:stCxn id="522" idx="2"/>
              <a:endCxn id="524" idx="1"/>
            </p:cNvCxnSpPr>
            <p:nvPr/>
          </p:nvCxnSpPr>
          <p:spPr>
            <a:xfrm rot="16200000" flipH="1">
              <a:off x="15781088" y="19211862"/>
              <a:ext cx="144620" cy="251412"/>
            </a:xfrm>
            <a:prstGeom prst="bentConnector2">
              <a:avLst/>
            </a:prstGeom>
            <a:noFill/>
            <a:ln w="76200" cap="flat" cmpd="sng" algn="ctr">
              <a:solidFill>
                <a:srgbClr val="F79646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521" name="Straight Connector 520"/>
            <p:cNvCxnSpPr/>
            <p:nvPr/>
          </p:nvCxnSpPr>
          <p:spPr>
            <a:xfrm flipV="1">
              <a:off x="15132308" y="19265258"/>
              <a:ext cx="2195609" cy="2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522" name="Rectangle 521"/>
            <p:cNvSpPr/>
            <p:nvPr/>
          </p:nvSpPr>
          <p:spPr>
            <a:xfrm>
              <a:off x="15529231" y="18875437"/>
              <a:ext cx="396923" cy="389821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3" name="Isosceles Triangle 522"/>
            <p:cNvSpPr/>
            <p:nvPr/>
          </p:nvSpPr>
          <p:spPr>
            <a:xfrm>
              <a:off x="15415825" y="18695194"/>
              <a:ext cx="623736" cy="180243"/>
            </a:xfrm>
            <a:prstGeom prst="triangl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4" name="Rectangle 523"/>
            <p:cNvSpPr/>
            <p:nvPr/>
          </p:nvSpPr>
          <p:spPr>
            <a:xfrm>
              <a:off x="15979104" y="19265260"/>
              <a:ext cx="556351" cy="289238"/>
            </a:xfrm>
            <a:prstGeom prst="rect">
              <a:avLst/>
            </a:prstGeom>
            <a:gradFill>
              <a:gsLst>
                <a:gs pos="0">
                  <a:srgbClr val="D6B19C"/>
                </a:gs>
                <a:gs pos="30000">
                  <a:srgbClr val="D49E6C"/>
                </a:gs>
                <a:gs pos="70000">
                  <a:srgbClr val="A65528"/>
                </a:gs>
                <a:gs pos="100000">
                  <a:srgbClr val="663012"/>
                </a:gs>
              </a:gsLst>
              <a:lin ang="5400000" scaled="0"/>
            </a:gra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25" name="Group 524"/>
            <p:cNvGrpSpPr/>
            <p:nvPr/>
          </p:nvGrpSpPr>
          <p:grpSpPr>
            <a:xfrm>
              <a:off x="15249267" y="19873715"/>
              <a:ext cx="2112428" cy="901215"/>
              <a:chOff x="2145078" y="17145000"/>
              <a:chExt cx="2143334" cy="914400"/>
            </a:xfrm>
          </p:grpSpPr>
          <p:sp>
            <p:nvSpPr>
              <p:cNvPr id="531" name="Rectangle 530"/>
              <p:cNvSpPr/>
              <p:nvPr/>
            </p:nvSpPr>
            <p:spPr>
              <a:xfrm>
                <a:off x="2145078" y="17145000"/>
                <a:ext cx="2143334" cy="914400"/>
              </a:xfrm>
              <a:prstGeom prst="rect">
                <a:avLst/>
              </a:prstGeom>
              <a:solidFill>
                <a:srgbClr val="4F81BD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>
                <a:softEdge rad="127000"/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2" name="Oval 531"/>
              <p:cNvSpPr/>
              <p:nvPr/>
            </p:nvSpPr>
            <p:spPr>
              <a:xfrm>
                <a:off x="22098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3" name="Oval 532"/>
              <p:cNvSpPr/>
              <p:nvPr/>
            </p:nvSpPr>
            <p:spPr>
              <a:xfrm>
                <a:off x="23622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4" name="Oval 533"/>
              <p:cNvSpPr/>
              <p:nvPr/>
            </p:nvSpPr>
            <p:spPr>
              <a:xfrm>
                <a:off x="25146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5" name="Oval 534"/>
              <p:cNvSpPr/>
              <p:nvPr/>
            </p:nvSpPr>
            <p:spPr>
              <a:xfrm>
                <a:off x="26670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6" name="Oval 535"/>
              <p:cNvSpPr/>
              <p:nvPr/>
            </p:nvSpPr>
            <p:spPr>
              <a:xfrm>
                <a:off x="28194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7" name="Oval 536"/>
              <p:cNvSpPr/>
              <p:nvPr/>
            </p:nvSpPr>
            <p:spPr>
              <a:xfrm>
                <a:off x="29718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8" name="Oval 537"/>
              <p:cNvSpPr/>
              <p:nvPr/>
            </p:nvSpPr>
            <p:spPr>
              <a:xfrm>
                <a:off x="31242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9" name="Oval 538"/>
              <p:cNvSpPr/>
              <p:nvPr/>
            </p:nvSpPr>
            <p:spPr>
              <a:xfrm>
                <a:off x="32766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0" name="Oval 539"/>
              <p:cNvSpPr/>
              <p:nvPr/>
            </p:nvSpPr>
            <p:spPr>
              <a:xfrm>
                <a:off x="34290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1" name="Oval 540"/>
              <p:cNvSpPr/>
              <p:nvPr/>
            </p:nvSpPr>
            <p:spPr>
              <a:xfrm>
                <a:off x="35814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2" name="Oval 541"/>
              <p:cNvSpPr/>
              <p:nvPr/>
            </p:nvSpPr>
            <p:spPr>
              <a:xfrm>
                <a:off x="37338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3" name="Oval 542"/>
              <p:cNvSpPr/>
              <p:nvPr/>
            </p:nvSpPr>
            <p:spPr>
              <a:xfrm>
                <a:off x="38862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4" name="Oval 543"/>
              <p:cNvSpPr/>
              <p:nvPr/>
            </p:nvSpPr>
            <p:spPr>
              <a:xfrm>
                <a:off x="4038600" y="17145000"/>
                <a:ext cx="177410" cy="152400"/>
              </a:xfrm>
              <a:prstGeom prst="ellipse">
                <a:avLst/>
              </a:prstGeom>
              <a:pattFill prst="dashUpDiag">
                <a:fgClr>
                  <a:srgbClr val="FFC000"/>
                </a:fgClr>
                <a:bgClr>
                  <a:sysClr val="window" lastClr="FFFFFF"/>
                </a:bgClr>
              </a:patt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526" name="Straight Arrow Connector 525"/>
            <p:cNvCxnSpPr/>
            <p:nvPr/>
          </p:nvCxnSpPr>
          <p:spPr>
            <a:xfrm flipH="1" flipV="1">
              <a:off x="17366336" y="19261452"/>
              <a:ext cx="3263" cy="713197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  <p:sp>
          <p:nvSpPr>
            <p:cNvPr id="527" name="Rounded Rectangle 526"/>
            <p:cNvSpPr/>
            <p:nvPr/>
          </p:nvSpPr>
          <p:spPr>
            <a:xfrm>
              <a:off x="16845797" y="19235236"/>
              <a:ext cx="386113" cy="1013985"/>
            </a:xfrm>
            <a:prstGeom prst="roundRect">
              <a:avLst/>
            </a:prstGeom>
            <a:pattFill prst="horzBrick">
              <a:fgClr>
                <a:srgbClr val="F79646">
                  <a:lumMod val="75000"/>
                </a:srgbClr>
              </a:fgClr>
              <a:bgClr>
                <a:sysClr val="window" lastClr="FFFFFF"/>
              </a:bgClr>
            </a:patt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8" name="Oval 527"/>
            <p:cNvSpPr/>
            <p:nvPr/>
          </p:nvSpPr>
          <p:spPr>
            <a:xfrm>
              <a:off x="16845797" y="19227589"/>
              <a:ext cx="382840" cy="82748"/>
            </a:xfrm>
            <a:prstGeom prst="ellipse">
              <a:avLst/>
            </a:prstGeom>
            <a:solidFill>
              <a:sysClr val="window" lastClr="FFFFFF">
                <a:lumMod val="65000"/>
              </a:sysClr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29" name="Picture 7" descr="http://images.clipartpanda.com/water-faucet-clipart-black-and-white-7599037-dripping-tap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5527231" y="18921341"/>
              <a:ext cx="180739" cy="313895"/>
            </a:xfrm>
            <a:prstGeom prst="rect">
              <a:avLst/>
            </a:prstGeom>
            <a:noFill/>
          </p:spPr>
        </p:pic>
        <p:cxnSp>
          <p:nvCxnSpPr>
            <p:cNvPr id="530" name="Elbow Connector 529"/>
            <p:cNvCxnSpPr/>
            <p:nvPr/>
          </p:nvCxnSpPr>
          <p:spPr>
            <a:xfrm rot="10800000" flipV="1">
              <a:off x="15377667" y="19032572"/>
              <a:ext cx="151565" cy="991345"/>
            </a:xfrm>
            <a:prstGeom prst="bentConnector2">
              <a:avLst/>
            </a:prstGeom>
            <a:noFill/>
            <a:ln w="38100" cap="flat" cmpd="sng" algn="ctr">
              <a:solidFill>
                <a:srgbClr val="00B0F0"/>
              </a:solidFill>
              <a:prstDash val="solid"/>
            </a:ln>
            <a:effectLst/>
          </p:spPr>
        </p:cxnSp>
      </p:grpSp>
      <p:grpSp>
        <p:nvGrpSpPr>
          <p:cNvPr id="545" name="Group 544"/>
          <p:cNvGrpSpPr/>
          <p:nvPr/>
        </p:nvGrpSpPr>
        <p:grpSpPr>
          <a:xfrm>
            <a:off x="173055" y="1430661"/>
            <a:ext cx="3191811" cy="2640854"/>
            <a:chOff x="12498872" y="18695194"/>
            <a:chExt cx="2581464" cy="2146741"/>
          </a:xfrm>
        </p:grpSpPr>
        <p:sp>
          <p:nvSpPr>
            <p:cNvPr id="546" name="Rectangle 545"/>
            <p:cNvSpPr/>
            <p:nvPr/>
          </p:nvSpPr>
          <p:spPr>
            <a:xfrm>
              <a:off x="12498872" y="19039953"/>
              <a:ext cx="2581464" cy="1801982"/>
            </a:xfrm>
            <a:prstGeom prst="rect">
              <a:avLst/>
            </a:prstGeom>
            <a:pattFill prst="dashUpDiag">
              <a:fgClr>
                <a:srgbClr val="FFC000"/>
              </a:fgClr>
              <a:bgClr>
                <a:sysClr val="window" lastClr="FFFFFF"/>
              </a:bgClr>
            </a:pattFill>
            <a:ln w="25400" cap="flat" cmpd="sng" algn="ctr">
              <a:noFill/>
              <a:prstDash val="solid"/>
            </a:ln>
            <a:effectLst>
              <a:softEdge rad="317500"/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47" name="Group 546"/>
            <p:cNvGrpSpPr/>
            <p:nvPr/>
          </p:nvGrpSpPr>
          <p:grpSpPr>
            <a:xfrm>
              <a:off x="12649074" y="18695194"/>
              <a:ext cx="2211300" cy="2079735"/>
              <a:chOff x="12649074" y="18695194"/>
              <a:chExt cx="2211300" cy="2079735"/>
            </a:xfrm>
          </p:grpSpPr>
          <p:cxnSp>
            <p:nvCxnSpPr>
              <p:cNvPr id="548" name="Straight Connector 547"/>
              <p:cNvCxnSpPr>
                <a:stCxn id="553" idx="3"/>
              </p:cNvCxnSpPr>
              <p:nvPr/>
            </p:nvCxnSpPr>
            <p:spPr>
              <a:xfrm flipV="1">
                <a:off x="14055454" y="19409878"/>
                <a:ext cx="303132" cy="1"/>
              </a:xfrm>
              <a:prstGeom prst="line">
                <a:avLst/>
              </a:prstGeom>
              <a:noFill/>
              <a:ln w="76200" cap="flat" cmpd="sng" algn="ctr">
                <a:solidFill>
                  <a:srgbClr val="F79646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549" name="Elbow Connector 548"/>
              <p:cNvCxnSpPr>
                <a:stCxn id="551" idx="2"/>
                <a:endCxn id="553" idx="1"/>
              </p:cNvCxnSpPr>
              <p:nvPr/>
            </p:nvCxnSpPr>
            <p:spPr>
              <a:xfrm rot="16200000" flipH="1">
                <a:off x="13301087" y="19211862"/>
                <a:ext cx="144620" cy="251412"/>
              </a:xfrm>
              <a:prstGeom prst="bentConnector2">
                <a:avLst/>
              </a:prstGeom>
              <a:noFill/>
              <a:ln w="76200" cap="flat" cmpd="sng" algn="ctr">
                <a:solidFill>
                  <a:srgbClr val="F79646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550" name="Straight Connector 549"/>
              <p:cNvCxnSpPr/>
              <p:nvPr/>
            </p:nvCxnSpPr>
            <p:spPr>
              <a:xfrm flipV="1">
                <a:off x="12652307" y="19265258"/>
                <a:ext cx="2195609" cy="2"/>
              </a:xfrm>
              <a:prstGeom prst="lin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551" name="Rectangle 550"/>
              <p:cNvSpPr/>
              <p:nvPr/>
            </p:nvSpPr>
            <p:spPr>
              <a:xfrm>
                <a:off x="13049230" y="18875437"/>
                <a:ext cx="396923" cy="389821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2" name="Isosceles Triangle 551"/>
              <p:cNvSpPr/>
              <p:nvPr/>
            </p:nvSpPr>
            <p:spPr>
              <a:xfrm>
                <a:off x="12940576" y="18695194"/>
                <a:ext cx="623736" cy="180243"/>
              </a:xfrm>
              <a:prstGeom prst="triangl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3" name="Rectangle 552"/>
              <p:cNvSpPr/>
              <p:nvPr/>
            </p:nvSpPr>
            <p:spPr>
              <a:xfrm>
                <a:off x="13499103" y="19265260"/>
                <a:ext cx="556351" cy="289238"/>
              </a:xfrm>
              <a:prstGeom prst="rect">
                <a:avLst/>
              </a:prstGeom>
              <a:gradFill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5400000" scaled="0"/>
              </a:gra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4" name="Rounded Rectangle 553"/>
              <p:cNvSpPr/>
              <p:nvPr/>
            </p:nvSpPr>
            <p:spPr>
              <a:xfrm>
                <a:off x="14365796" y="19235236"/>
                <a:ext cx="386113" cy="1013985"/>
              </a:xfrm>
              <a:prstGeom prst="roundRect">
                <a:avLst/>
              </a:prstGeom>
              <a:pattFill prst="horzBrick">
                <a:fgClr>
                  <a:srgbClr val="F79646">
                    <a:lumMod val="75000"/>
                  </a:srgbClr>
                </a:fgClr>
                <a:bgClr>
                  <a:sysClr val="window" lastClr="FFFFFF"/>
                </a:bgClr>
              </a:patt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5" name="Oval 554"/>
              <p:cNvSpPr/>
              <p:nvPr/>
            </p:nvSpPr>
            <p:spPr>
              <a:xfrm>
                <a:off x="14365796" y="19227589"/>
                <a:ext cx="382840" cy="82748"/>
              </a:xfrm>
              <a:prstGeom prst="ellipse">
                <a:avLst/>
              </a:prstGeom>
              <a:solidFill>
                <a:sysClr val="window" lastClr="FFFFFF">
                  <a:lumMod val="65000"/>
                </a:sysClr>
              </a:soli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556" name="Group 555"/>
              <p:cNvGrpSpPr/>
              <p:nvPr/>
            </p:nvGrpSpPr>
            <p:grpSpPr>
              <a:xfrm>
                <a:off x="12649074" y="20399423"/>
                <a:ext cx="2112428" cy="375506"/>
                <a:chOff x="2145078" y="17145000"/>
                <a:chExt cx="2143334" cy="381000"/>
              </a:xfrm>
            </p:grpSpPr>
            <p:sp>
              <p:nvSpPr>
                <p:cNvPr id="560" name="Rectangle 559"/>
                <p:cNvSpPr/>
                <p:nvPr/>
              </p:nvSpPr>
              <p:spPr>
                <a:xfrm>
                  <a:off x="2145078" y="17145000"/>
                  <a:ext cx="2143334" cy="381000"/>
                </a:xfrm>
                <a:prstGeom prst="rect">
                  <a:avLst/>
                </a:prstGeom>
                <a:solidFill>
                  <a:srgbClr val="4F81BD"/>
                </a:solidFill>
                <a:ln w="25400" cap="flat" cmpd="sng" algn="ctr">
                  <a:solidFill>
                    <a:srgbClr val="4F81BD">
                      <a:shade val="50000"/>
                    </a:srgbClr>
                  </a:solidFill>
                  <a:prstDash val="solid"/>
                </a:ln>
                <a:effectLst>
                  <a:softEdge rad="127000"/>
                </a:effectLst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1" name="Oval 560"/>
                <p:cNvSpPr/>
                <p:nvPr/>
              </p:nvSpPr>
              <p:spPr>
                <a:xfrm>
                  <a:off x="22098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2" name="Oval 561"/>
                <p:cNvSpPr/>
                <p:nvPr/>
              </p:nvSpPr>
              <p:spPr>
                <a:xfrm>
                  <a:off x="23622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3" name="Oval 562"/>
                <p:cNvSpPr/>
                <p:nvPr/>
              </p:nvSpPr>
              <p:spPr>
                <a:xfrm>
                  <a:off x="25146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4" name="Oval 563"/>
                <p:cNvSpPr/>
                <p:nvPr/>
              </p:nvSpPr>
              <p:spPr>
                <a:xfrm>
                  <a:off x="26670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5" name="Oval 564"/>
                <p:cNvSpPr/>
                <p:nvPr/>
              </p:nvSpPr>
              <p:spPr>
                <a:xfrm>
                  <a:off x="28194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6" name="Oval 565"/>
                <p:cNvSpPr/>
                <p:nvPr/>
              </p:nvSpPr>
              <p:spPr>
                <a:xfrm>
                  <a:off x="29718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7" name="Oval 566"/>
                <p:cNvSpPr/>
                <p:nvPr/>
              </p:nvSpPr>
              <p:spPr>
                <a:xfrm>
                  <a:off x="31242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8" name="Oval 567"/>
                <p:cNvSpPr/>
                <p:nvPr/>
              </p:nvSpPr>
              <p:spPr>
                <a:xfrm>
                  <a:off x="32766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69" name="Oval 568"/>
                <p:cNvSpPr/>
                <p:nvPr/>
              </p:nvSpPr>
              <p:spPr>
                <a:xfrm>
                  <a:off x="34290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0" name="Oval 569"/>
                <p:cNvSpPr/>
                <p:nvPr/>
              </p:nvSpPr>
              <p:spPr>
                <a:xfrm>
                  <a:off x="35814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1" name="Oval 570"/>
                <p:cNvSpPr/>
                <p:nvPr/>
              </p:nvSpPr>
              <p:spPr>
                <a:xfrm>
                  <a:off x="37338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2" name="Oval 571"/>
                <p:cNvSpPr/>
                <p:nvPr/>
              </p:nvSpPr>
              <p:spPr>
                <a:xfrm>
                  <a:off x="38862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3" name="Oval 572"/>
                <p:cNvSpPr/>
                <p:nvPr/>
              </p:nvSpPr>
              <p:spPr>
                <a:xfrm>
                  <a:off x="4038600" y="17145000"/>
                  <a:ext cx="177410" cy="152400"/>
                </a:xfrm>
                <a:prstGeom prst="ellipse">
                  <a:avLst/>
                </a:prstGeom>
                <a:pattFill prst="dashUpDiag">
                  <a:fgClr>
                    <a:srgbClr val="FFC000"/>
                  </a:fgClr>
                  <a:bgClr>
                    <a:sysClr val="window" lastClr="FFFFFF"/>
                  </a:bgClr>
                </a:patt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557" name="Straight Arrow Connector 556"/>
              <p:cNvCxnSpPr/>
              <p:nvPr/>
            </p:nvCxnSpPr>
            <p:spPr>
              <a:xfrm flipV="1">
                <a:off x="14851736" y="19265260"/>
                <a:ext cx="8638" cy="1321916"/>
              </a:xfrm>
              <a:prstGeom prst="straightConnector1">
                <a:avLst/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headEnd type="triangle" w="lg" len="lg"/>
                <a:tailEnd type="triangle" w="lg" len="lg"/>
              </a:ln>
              <a:effectLst/>
            </p:spPr>
          </p:cxnSp>
          <p:pic>
            <p:nvPicPr>
              <p:cNvPr id="558" name="Picture 7" descr="http://images.clipartpanda.com/water-faucet-clipart-black-and-white-7599037-dripping-tap.jpg"/>
              <p:cNvPicPr>
                <a:picLocks noChangeAspect="1" noChangeArrowheads="1"/>
              </p:cNvPicPr>
              <p:nvPr/>
            </p:nvPicPr>
            <p:blipFill>
              <a:blip r:embed="rId3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3058162" y="18921341"/>
                <a:ext cx="180739" cy="313895"/>
              </a:xfrm>
              <a:prstGeom prst="rect">
                <a:avLst/>
              </a:prstGeom>
              <a:noFill/>
            </p:spPr>
          </p:pic>
          <p:cxnSp>
            <p:nvCxnSpPr>
              <p:cNvPr id="559" name="Elbow Connector 558"/>
              <p:cNvCxnSpPr/>
              <p:nvPr/>
            </p:nvCxnSpPr>
            <p:spPr>
              <a:xfrm rot="10800000" flipV="1">
                <a:off x="12935824" y="19047601"/>
                <a:ext cx="113406" cy="1532065"/>
              </a:xfrm>
              <a:prstGeom prst="bentConnector2">
                <a:avLst/>
              </a:prstGeom>
              <a:noFill/>
              <a:ln w="38100" cap="flat" cmpd="sng" algn="ctr">
                <a:solidFill>
                  <a:srgbClr val="00B0F0"/>
                </a:solidFill>
                <a:prstDash val="solid"/>
              </a:ln>
              <a:effectLst/>
            </p:spPr>
          </p:cxnSp>
        </p:grpSp>
      </p:grpSp>
      <p:sp>
        <p:nvSpPr>
          <p:cNvPr id="574" name="Rectangle 573"/>
          <p:cNvSpPr/>
          <p:nvPr/>
        </p:nvSpPr>
        <p:spPr>
          <a:xfrm>
            <a:off x="159661" y="813489"/>
            <a:ext cx="3272262" cy="5815911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 आणि शोष ख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ड्डा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ेबल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/ पाण्याच्या पातळीपासून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दूर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सावा 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5" name="L-Shape 574"/>
          <p:cNvSpPr>
            <a:spLocks noChangeAspect="1"/>
          </p:cNvSpPr>
          <p:nvPr/>
        </p:nvSpPr>
        <p:spPr>
          <a:xfrm rot="19279317">
            <a:off x="1207632" y="2625461"/>
            <a:ext cx="1069530" cy="454437"/>
          </a:xfrm>
          <a:prstGeom prst="corner">
            <a:avLst>
              <a:gd name="adj1" fmla="val 23479"/>
              <a:gd name="adj2" fmla="val 27803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6" name="L-Shape 575"/>
          <p:cNvSpPr>
            <a:spLocks noChangeAspect="1"/>
          </p:cNvSpPr>
          <p:nvPr/>
        </p:nvSpPr>
        <p:spPr>
          <a:xfrm rot="19279317">
            <a:off x="3936274" y="2835473"/>
            <a:ext cx="1069530" cy="454437"/>
          </a:xfrm>
          <a:prstGeom prst="corner">
            <a:avLst>
              <a:gd name="adj1" fmla="val 23479"/>
              <a:gd name="adj2" fmla="val 27803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7" name="Multiply 576"/>
          <p:cNvSpPr/>
          <p:nvPr/>
        </p:nvSpPr>
        <p:spPr>
          <a:xfrm>
            <a:off x="960905" y="5232029"/>
            <a:ext cx="1440268" cy="1332779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8" name="Multiply 577"/>
          <p:cNvSpPr/>
          <p:nvPr/>
        </p:nvSpPr>
        <p:spPr>
          <a:xfrm>
            <a:off x="3445841" y="5487873"/>
            <a:ext cx="1440268" cy="1332779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9" name="Multiply 578"/>
          <p:cNvSpPr/>
          <p:nvPr/>
        </p:nvSpPr>
        <p:spPr>
          <a:xfrm>
            <a:off x="6384984" y="2604366"/>
            <a:ext cx="1440268" cy="1332779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0" name="L-Shape 579"/>
          <p:cNvSpPr>
            <a:spLocks noChangeAspect="1"/>
          </p:cNvSpPr>
          <p:nvPr/>
        </p:nvSpPr>
        <p:spPr>
          <a:xfrm rot="19279317">
            <a:off x="6321744" y="5841207"/>
            <a:ext cx="1069530" cy="454437"/>
          </a:xfrm>
          <a:prstGeom prst="corner">
            <a:avLst>
              <a:gd name="adj1" fmla="val 23479"/>
              <a:gd name="adj2" fmla="val 27803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81" name="Straight Arrow Connector 580"/>
          <p:cNvCxnSpPr/>
          <p:nvPr/>
        </p:nvCxnSpPr>
        <p:spPr>
          <a:xfrm flipH="1" flipV="1">
            <a:off x="762000" y="3619263"/>
            <a:ext cx="1754020" cy="274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lg" len="lg"/>
            <a:tailEnd type="triangle" w="lg" len="lg"/>
          </a:ln>
          <a:effectLst/>
        </p:spPr>
      </p:cxnSp>
      <p:sp>
        <p:nvSpPr>
          <p:cNvPr id="582" name="TextBox 581"/>
          <p:cNvSpPr txBox="1"/>
          <p:nvPr/>
        </p:nvSpPr>
        <p:spPr>
          <a:xfrm>
            <a:off x="1219200" y="3363643"/>
            <a:ext cx="8971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latin typeface="Calibri"/>
              </a:rPr>
              <a:t>Min 12 m</a:t>
            </a:r>
            <a:endParaRPr lang="en-US" sz="1400" dirty="0">
              <a:latin typeface="Calibri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3606295" y="3794211"/>
            <a:ext cx="5385305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/>
        </p:nvSpPr>
        <p:spPr>
          <a:xfrm>
            <a:off x="3733800" y="4038600"/>
            <a:ext cx="1673856" cy="7232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ts val="600"/>
              </a:spcBef>
              <a:defRPr/>
            </a:pP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ाकीवर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</a:t>
            </a:r>
            <a:endParaRPr lang="mr-IN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0" algn="ctr">
              <a:spcBef>
                <a:spcPts val="600"/>
              </a:spcBef>
              <a:defRPr/>
            </a:pP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 बांधू नका </a:t>
            </a:r>
            <a:endParaRPr lang="en-US" kern="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5654848" y="3847890"/>
            <a:ext cx="336184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600"/>
              </a:spcBef>
              <a:defRPr/>
            </a:pP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र्यादित </a:t>
            </a:r>
            <a:r>
              <a:rPr lang="hi-IN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जागा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पलब्ध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स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ल्यास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शौचालय टाकीवर अशा रीतीने बांधा जेणेकरून टाकीचे सगळे कप्पे उघडता येऊ शकतील</a:t>
            </a:r>
            <a:endParaRPr lang="en-US" kern="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152400" y="6629400"/>
            <a:ext cx="912955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800" dirty="0" smtClean="0">
                <a:solidFill>
                  <a:srgbClr val="FF0000"/>
                </a:solidFill>
              </a:rPr>
              <a:t>स्त्रोत: महाराष्ट्रातील नगर पंचायत व नगर परिषद – विकास नियंत्रण व प्रसार</a:t>
            </a:r>
            <a:endParaRPr lang="en-US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161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3840" y="149382"/>
            <a:ext cx="8153400" cy="533400"/>
          </a:xfrm>
        </p:spPr>
        <p:txBody>
          <a:bodyPr>
            <a:normAutofit fontScale="90000"/>
          </a:bodyPr>
          <a:lstStyle/>
          <a:p>
            <a:pPr lvl="2" algn="l" rtl="0">
              <a:spcBef>
                <a:spcPct val="0"/>
              </a:spcBef>
            </a:pPr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</a:t>
            </a:r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चा</a:t>
            </a:r>
            <a:r>
              <a:rPr lang="hi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3200" b="1" kern="1200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िमान </a:t>
            </a:r>
            <a:r>
              <a:rPr lang="hi-IN" sz="3200" b="1" kern="1200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आकार</a:t>
            </a:r>
            <a:r>
              <a:rPr lang="mr-IN" sz="3200" b="1" kern="1200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/ आकारमान </a:t>
            </a:r>
            <a:r>
              <a:rPr lang="en-US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. 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111" name="Cube 110"/>
          <p:cNvSpPr/>
          <p:nvPr/>
        </p:nvSpPr>
        <p:spPr>
          <a:xfrm>
            <a:off x="5536267" y="1355265"/>
            <a:ext cx="2571413" cy="1243155"/>
          </a:xfrm>
          <a:prstGeom prst="cube">
            <a:avLst>
              <a:gd name="adj" fmla="val 30719"/>
            </a:avLst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2" name="Parallelogram 111"/>
          <p:cNvSpPr/>
          <p:nvPr/>
        </p:nvSpPr>
        <p:spPr>
          <a:xfrm rot="16200000" flipV="1">
            <a:off x="7216795" y="1705207"/>
            <a:ext cx="1408176" cy="358352"/>
          </a:xfrm>
          <a:prstGeom prst="parallelogram">
            <a:avLst>
              <a:gd name="adj" fmla="val 99176"/>
            </a:avLst>
          </a:prstGeom>
          <a:noFill/>
          <a:ln w="25400" cap="flat" cmpd="sng" algn="ctr">
            <a:solidFill>
              <a:sysClr val="windowText" lastClr="000000"/>
            </a:solidFill>
            <a:prstDash val="dash"/>
          </a:ln>
          <a:effectLst/>
        </p:spPr>
        <p:txBody>
          <a:bodyPr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83840" y="838199"/>
            <a:ext cx="4007160" cy="2286001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algn="ctr">
              <a:spcBef>
                <a:spcPts val="600"/>
              </a:spcBef>
              <a:defRPr/>
            </a:pPr>
            <a:r>
              <a:rPr lang="mr-IN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गरजेपेक्षा मोठी सेप्टिक टाकी बांधू नये </a:t>
            </a:r>
            <a:endParaRPr lang="en-US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 algn="ctr">
              <a:spcBef>
                <a:spcPts val="600"/>
              </a:spcBef>
              <a:defRPr/>
            </a:pPr>
            <a:endParaRPr lang="en-US" dirty="0" smtClean="0"/>
          </a:p>
          <a:p>
            <a:pPr lvl="0" algn="ctr">
              <a:defRPr/>
            </a:pPr>
            <a:endParaRPr lang="mr-IN" dirty="0" smtClean="0"/>
          </a:p>
          <a:p>
            <a:pPr lvl="0" algn="ctr">
              <a:spcBef>
                <a:spcPts val="600"/>
              </a:spcBef>
              <a:defRPr/>
            </a:pP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ाकीचा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आकार नगरपालि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ेच्या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ियमांनुसार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च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असा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ा 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14" name="Group 113"/>
          <p:cNvGrpSpPr/>
          <p:nvPr/>
        </p:nvGrpSpPr>
        <p:grpSpPr>
          <a:xfrm>
            <a:off x="480804" y="1272541"/>
            <a:ext cx="2072728" cy="990310"/>
            <a:chOff x="1385797" y="1809988"/>
            <a:chExt cx="2830912" cy="1276297"/>
          </a:xfrm>
        </p:grpSpPr>
        <p:cxnSp>
          <p:nvCxnSpPr>
            <p:cNvPr id="115" name="Elbow Connector 114"/>
            <p:cNvCxnSpPr>
              <a:stCxn id="117" idx="2"/>
              <a:endCxn id="119" idx="1"/>
            </p:cNvCxnSpPr>
            <p:nvPr/>
          </p:nvCxnSpPr>
          <p:spPr>
            <a:xfrm rot="16200000" flipH="1">
              <a:off x="1969106" y="2488593"/>
              <a:ext cx="285843" cy="337854"/>
            </a:xfrm>
            <a:prstGeom prst="bentConnector2">
              <a:avLst/>
            </a:prstGeom>
            <a:noFill/>
            <a:ln w="76200" cap="flat" cmpd="sng" algn="ctr">
              <a:solidFill>
                <a:srgbClr val="F79646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16" name="Straight Connector 115"/>
            <p:cNvCxnSpPr/>
            <p:nvPr/>
          </p:nvCxnSpPr>
          <p:spPr>
            <a:xfrm>
              <a:off x="1385797" y="2514599"/>
              <a:ext cx="2830912" cy="7734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17" name="Rectangle 116"/>
            <p:cNvSpPr/>
            <p:nvPr/>
          </p:nvSpPr>
          <p:spPr>
            <a:xfrm>
              <a:off x="1676400" y="2113347"/>
              <a:ext cx="533400" cy="401252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Isosceles Triangle 117"/>
            <p:cNvSpPr/>
            <p:nvPr/>
          </p:nvSpPr>
          <p:spPr>
            <a:xfrm>
              <a:off x="1524000" y="1809988"/>
              <a:ext cx="838200" cy="299711"/>
            </a:xfrm>
            <a:prstGeom prst="triangl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280954" y="2514600"/>
              <a:ext cx="1627428" cy="571685"/>
            </a:xfrm>
            <a:prstGeom prst="rect">
              <a:avLst/>
            </a:prstGeom>
            <a:gradFill>
              <a:gsLst>
                <a:gs pos="0">
                  <a:srgbClr val="D6B19C"/>
                </a:gs>
                <a:gs pos="30000">
                  <a:srgbClr val="D49E6C"/>
                </a:gs>
                <a:gs pos="70000">
                  <a:srgbClr val="A65528"/>
                </a:gs>
                <a:gs pos="100000">
                  <a:srgbClr val="663012"/>
                </a:gs>
              </a:gsLst>
              <a:lin ang="5400000" scaled="0"/>
            </a:gra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2438400" y="1272541"/>
            <a:ext cx="1548690" cy="993439"/>
            <a:chOff x="6014571" y="12538859"/>
            <a:chExt cx="1597018" cy="949385"/>
          </a:xfrm>
        </p:grpSpPr>
        <p:grpSp>
          <p:nvGrpSpPr>
            <p:cNvPr id="121" name="Group 120"/>
            <p:cNvGrpSpPr/>
            <p:nvPr/>
          </p:nvGrpSpPr>
          <p:grpSpPr>
            <a:xfrm>
              <a:off x="6014571" y="12538859"/>
              <a:ext cx="1597018" cy="824676"/>
              <a:chOff x="573592" y="1798222"/>
              <a:chExt cx="2115186" cy="1112150"/>
            </a:xfrm>
          </p:grpSpPr>
          <p:cxnSp>
            <p:nvCxnSpPr>
              <p:cNvPr id="124" name="Elbow Connector 123"/>
              <p:cNvCxnSpPr>
                <a:stCxn id="126" idx="2"/>
                <a:endCxn id="128" idx="1"/>
              </p:cNvCxnSpPr>
              <p:nvPr/>
            </p:nvCxnSpPr>
            <p:spPr>
              <a:xfrm rot="16200000" flipH="1">
                <a:off x="1196662" y="2444616"/>
                <a:ext cx="197888" cy="337855"/>
              </a:xfrm>
              <a:prstGeom prst="bentConnector2">
                <a:avLst/>
              </a:prstGeom>
              <a:noFill/>
              <a:ln w="76200" cap="flat" cmpd="sng" algn="ctr">
                <a:solidFill>
                  <a:srgbClr val="F79646">
                    <a:lumMod val="50000"/>
                  </a:srgbClr>
                </a:solidFill>
                <a:prstDash val="solid"/>
              </a:ln>
              <a:effectLst/>
            </p:spPr>
          </p:cxnSp>
          <p:cxnSp>
            <p:nvCxnSpPr>
              <p:cNvPr id="125" name="Straight Connector 124"/>
              <p:cNvCxnSpPr/>
              <p:nvPr/>
            </p:nvCxnSpPr>
            <p:spPr>
              <a:xfrm>
                <a:off x="573592" y="2514599"/>
                <a:ext cx="2115186" cy="1"/>
              </a:xfrm>
              <a:prstGeom prst="lin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</p:cxnSp>
          <p:sp>
            <p:nvSpPr>
              <p:cNvPr id="126" name="Rectangle 125"/>
              <p:cNvSpPr/>
              <p:nvPr/>
            </p:nvSpPr>
            <p:spPr>
              <a:xfrm>
                <a:off x="859979" y="2111573"/>
                <a:ext cx="533400" cy="403027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7" name="Isosceles Triangle 126"/>
              <p:cNvSpPr/>
              <p:nvPr/>
            </p:nvSpPr>
            <p:spPr>
              <a:xfrm>
                <a:off x="707575" y="1798222"/>
                <a:ext cx="829080" cy="301484"/>
              </a:xfrm>
              <a:prstGeom prst="triangle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8" name="Rectangle 127"/>
              <p:cNvSpPr/>
              <p:nvPr/>
            </p:nvSpPr>
            <p:spPr>
              <a:xfrm>
                <a:off x="1464533" y="2514601"/>
                <a:ext cx="747645" cy="395771"/>
              </a:xfrm>
              <a:prstGeom prst="rect">
                <a:avLst/>
              </a:prstGeom>
              <a:gradFill>
                <a:gsLst>
                  <a:gs pos="0">
                    <a:srgbClr val="D6B19C"/>
                  </a:gs>
                  <a:gs pos="30000">
                    <a:srgbClr val="D49E6C"/>
                  </a:gs>
                  <a:gs pos="70000">
                    <a:srgbClr val="A65528"/>
                  </a:gs>
                  <a:gs pos="100000">
                    <a:srgbClr val="663012"/>
                  </a:gs>
                </a:gsLst>
                <a:lin ang="5400000" scaled="0"/>
              </a:gradFill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122" name="Straight Arrow Connector 121"/>
            <p:cNvCxnSpPr/>
            <p:nvPr/>
          </p:nvCxnSpPr>
          <p:spPr>
            <a:xfrm>
              <a:off x="6648076" y="13488244"/>
              <a:ext cx="584107" cy="0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  <p:cxnSp>
          <p:nvCxnSpPr>
            <p:cNvPr id="123" name="Straight Arrow Connector 122"/>
            <p:cNvCxnSpPr/>
            <p:nvPr/>
          </p:nvCxnSpPr>
          <p:spPr>
            <a:xfrm flipH="1" flipV="1">
              <a:off x="7382576" y="13083962"/>
              <a:ext cx="2" cy="327238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</p:grpSp>
      <p:sp>
        <p:nvSpPr>
          <p:cNvPr id="129" name="L-Shape 128"/>
          <p:cNvSpPr>
            <a:spLocks noChangeAspect="1"/>
          </p:cNvSpPr>
          <p:nvPr/>
        </p:nvSpPr>
        <p:spPr>
          <a:xfrm rot="19279317">
            <a:off x="2667372" y="1934478"/>
            <a:ext cx="504701" cy="307291"/>
          </a:xfrm>
          <a:prstGeom prst="corner">
            <a:avLst>
              <a:gd name="adj1" fmla="val 23479"/>
              <a:gd name="adj2" fmla="val 27803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0" name="Multiply 129"/>
          <p:cNvSpPr/>
          <p:nvPr/>
        </p:nvSpPr>
        <p:spPr>
          <a:xfrm>
            <a:off x="209199" y="1810472"/>
            <a:ext cx="679649" cy="695743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183840" y="3215212"/>
            <a:ext cx="4007160" cy="3414188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 algn="ctr">
              <a:spcBef>
                <a:spcPts val="600"/>
              </a:spcBef>
              <a:defRPr/>
            </a:pP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ाकी प्राधान्याने दोन कप्प्यांची असावी व लांबीच्या दोन तृतीयांशामध्ये विभागलेली असावी  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2224514" y="5638140"/>
            <a:ext cx="1887553" cy="621345"/>
            <a:chOff x="7699683" y="7924800"/>
            <a:chExt cx="2638445" cy="678041"/>
          </a:xfrm>
        </p:grpSpPr>
        <p:sp>
          <p:nvSpPr>
            <p:cNvPr id="133" name="Rectangle 132"/>
            <p:cNvSpPr/>
            <p:nvPr/>
          </p:nvSpPr>
          <p:spPr>
            <a:xfrm>
              <a:off x="8250503" y="7924800"/>
              <a:ext cx="1547791" cy="678041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4" name="Straight Connector 133"/>
            <p:cNvCxnSpPr/>
            <p:nvPr/>
          </p:nvCxnSpPr>
          <p:spPr>
            <a:xfrm>
              <a:off x="7699683" y="7924800"/>
              <a:ext cx="2638443" cy="1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35" name="Elbow Connector 134"/>
            <p:cNvCxnSpPr/>
            <p:nvPr/>
          </p:nvCxnSpPr>
          <p:spPr>
            <a:xfrm rot="16200000" flipH="1">
              <a:off x="7983131" y="7797906"/>
              <a:ext cx="203412" cy="457201"/>
            </a:xfrm>
            <a:prstGeom prst="bentConnector2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36" name="Elbow Connector 458"/>
            <p:cNvCxnSpPr/>
            <p:nvPr/>
          </p:nvCxnSpPr>
          <p:spPr>
            <a:xfrm flipH="1" flipV="1">
              <a:off x="9658623" y="8331624"/>
              <a:ext cx="679505" cy="2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37" name="Straight Connector 136"/>
            <p:cNvCxnSpPr/>
            <p:nvPr/>
          </p:nvCxnSpPr>
          <p:spPr>
            <a:xfrm>
              <a:off x="8755839" y="7924801"/>
              <a:ext cx="0" cy="265565"/>
            </a:xfrm>
            <a:prstGeom prst="line">
              <a:avLst/>
            </a:prstGeom>
            <a:noFill/>
            <a:ln w="762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  <p:cxnSp>
          <p:nvCxnSpPr>
            <p:cNvPr id="138" name="Straight Connector 137"/>
            <p:cNvCxnSpPr/>
            <p:nvPr/>
          </p:nvCxnSpPr>
          <p:spPr>
            <a:xfrm>
              <a:off x="8755839" y="8331626"/>
              <a:ext cx="0" cy="271215"/>
            </a:xfrm>
            <a:prstGeom prst="line">
              <a:avLst/>
            </a:prstGeom>
            <a:noFill/>
            <a:ln w="762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</p:cxnSp>
      </p:grpSp>
      <p:grpSp>
        <p:nvGrpSpPr>
          <p:cNvPr id="139" name="Group 138"/>
          <p:cNvGrpSpPr/>
          <p:nvPr/>
        </p:nvGrpSpPr>
        <p:grpSpPr>
          <a:xfrm>
            <a:off x="335130" y="5635328"/>
            <a:ext cx="1894219" cy="628003"/>
            <a:chOff x="7699683" y="7924800"/>
            <a:chExt cx="2647763" cy="678041"/>
          </a:xfrm>
        </p:grpSpPr>
        <p:sp>
          <p:nvSpPr>
            <p:cNvPr id="140" name="Rectangle 139"/>
            <p:cNvSpPr/>
            <p:nvPr/>
          </p:nvSpPr>
          <p:spPr>
            <a:xfrm>
              <a:off x="8250503" y="7924800"/>
              <a:ext cx="1547791" cy="678041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41" name="Straight Connector 140"/>
            <p:cNvCxnSpPr/>
            <p:nvPr/>
          </p:nvCxnSpPr>
          <p:spPr>
            <a:xfrm>
              <a:off x="7699683" y="7924800"/>
              <a:ext cx="2638443" cy="1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2" name="Elbow Connector 141"/>
            <p:cNvCxnSpPr/>
            <p:nvPr/>
          </p:nvCxnSpPr>
          <p:spPr>
            <a:xfrm rot="16200000" flipH="1">
              <a:off x="7983131" y="7797906"/>
              <a:ext cx="203412" cy="457201"/>
            </a:xfrm>
            <a:prstGeom prst="bentConnector2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3" name="Elbow Connector 454"/>
            <p:cNvCxnSpPr/>
            <p:nvPr/>
          </p:nvCxnSpPr>
          <p:spPr>
            <a:xfrm flipH="1" flipV="1">
              <a:off x="9658633" y="8331624"/>
              <a:ext cx="688813" cy="3502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</p:grpSp>
      <p:grpSp>
        <p:nvGrpSpPr>
          <p:cNvPr id="144" name="Group 143"/>
          <p:cNvGrpSpPr>
            <a:grpSpLocks noChangeAspect="1"/>
          </p:cNvGrpSpPr>
          <p:nvPr/>
        </p:nvGrpSpPr>
        <p:grpSpPr>
          <a:xfrm>
            <a:off x="501220" y="4114800"/>
            <a:ext cx="3352499" cy="1385621"/>
            <a:chOff x="4165166" y="4306249"/>
            <a:chExt cx="4375688" cy="1808514"/>
          </a:xfrm>
        </p:grpSpPr>
        <p:sp>
          <p:nvSpPr>
            <p:cNvPr id="145" name="Rectangle 144"/>
            <p:cNvSpPr/>
            <p:nvPr/>
          </p:nvSpPr>
          <p:spPr>
            <a:xfrm>
              <a:off x="5143264" y="4400997"/>
              <a:ext cx="2403358" cy="1148235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Ins="0" rtlCol="0" anchor="ctr"/>
            <a:lstStyle/>
            <a:p>
              <a:pPr lvl="0" algn="ctr"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lang="hi-IN" sz="1100" dirty="0" smtClean="0"/>
                <a:t>भाग</a:t>
              </a: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   </a:t>
              </a:r>
              <a:r>
                <a:rPr lang="hi-IN" sz="1100" dirty="0" smtClean="0"/>
                <a:t> भाग</a:t>
              </a: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 </a:t>
              </a:r>
              <a:r>
                <a:rPr kumimoji="0" lang="en-US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            1                 2</a:t>
              </a:r>
            </a:p>
          </p:txBody>
        </p:sp>
        <p:cxnSp>
          <p:nvCxnSpPr>
            <p:cNvPr id="146" name="Straight Connector 145"/>
            <p:cNvCxnSpPr/>
            <p:nvPr/>
          </p:nvCxnSpPr>
          <p:spPr>
            <a:xfrm>
              <a:off x="4287969" y="4400997"/>
              <a:ext cx="4096886" cy="2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7" name="Elbow Connector 146"/>
            <p:cNvCxnSpPr/>
            <p:nvPr/>
          </p:nvCxnSpPr>
          <p:spPr>
            <a:xfrm rot="16200000" flipH="1">
              <a:off x="4713788" y="4218270"/>
              <a:ext cx="344470" cy="709926"/>
            </a:xfrm>
            <a:prstGeom prst="bentConnector2">
              <a:avLst/>
            </a:prstGeom>
            <a:noFill/>
            <a:ln w="762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8" name="Elbow Connector 441"/>
            <p:cNvCxnSpPr/>
            <p:nvPr/>
          </p:nvCxnSpPr>
          <p:spPr>
            <a:xfrm flipH="1" flipV="1">
              <a:off x="7329746" y="5089939"/>
              <a:ext cx="747454" cy="2"/>
            </a:xfrm>
            <a:prstGeom prst="straightConnector1">
              <a:avLst/>
            </a:prstGeom>
            <a:noFill/>
            <a:ln w="762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49" name="Straight Connector 148"/>
            <p:cNvCxnSpPr/>
            <p:nvPr/>
          </p:nvCxnSpPr>
          <p:spPr>
            <a:xfrm>
              <a:off x="6700272" y="4400999"/>
              <a:ext cx="0" cy="449724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50" name="Straight Connector 149"/>
            <p:cNvCxnSpPr/>
            <p:nvPr/>
          </p:nvCxnSpPr>
          <p:spPr>
            <a:xfrm>
              <a:off x="6700272" y="5089941"/>
              <a:ext cx="0" cy="459292"/>
            </a:xfrm>
            <a:prstGeom prst="line">
              <a:avLst/>
            </a:prstGeom>
            <a:noFill/>
            <a:ln w="762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151" name="TextBox 150"/>
            <p:cNvSpPr txBox="1"/>
            <p:nvPr/>
          </p:nvSpPr>
          <p:spPr>
            <a:xfrm>
              <a:off x="5404214" y="5713052"/>
              <a:ext cx="3034781" cy="4017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Calibri"/>
                </a:rPr>
                <a:t>2/3                     1/3</a:t>
              </a:r>
            </a:p>
          </p:txBody>
        </p:sp>
        <p:cxnSp>
          <p:nvCxnSpPr>
            <p:cNvPr id="152" name="Straight Arrow Connector 151"/>
            <p:cNvCxnSpPr/>
            <p:nvPr/>
          </p:nvCxnSpPr>
          <p:spPr>
            <a:xfrm>
              <a:off x="5162314" y="5717892"/>
              <a:ext cx="1485754" cy="0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  <p:cxnSp>
          <p:nvCxnSpPr>
            <p:cNvPr id="153" name="Straight Arrow Connector 152"/>
            <p:cNvCxnSpPr/>
            <p:nvPr/>
          </p:nvCxnSpPr>
          <p:spPr>
            <a:xfrm>
              <a:off x="6700272" y="5717892"/>
              <a:ext cx="925974" cy="0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 w="lg" len="lg"/>
              <a:tailEnd type="triangle" w="lg" len="lg"/>
            </a:ln>
            <a:effectLst/>
          </p:spPr>
        </p:cxnSp>
        <p:sp>
          <p:nvSpPr>
            <p:cNvPr id="154" name="Down Arrow 153"/>
            <p:cNvSpPr/>
            <p:nvPr/>
          </p:nvSpPr>
          <p:spPr>
            <a:xfrm>
              <a:off x="4165166" y="4306249"/>
              <a:ext cx="328196" cy="319613"/>
            </a:xfrm>
            <a:prstGeom prst="downArrow">
              <a:avLst/>
            </a:prstGeom>
            <a:solidFill>
              <a:sysClr val="windowText" lastClr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Down Arrow 154"/>
            <p:cNvSpPr/>
            <p:nvPr/>
          </p:nvSpPr>
          <p:spPr>
            <a:xfrm rot="5400000" flipV="1">
              <a:off x="8206341" y="4902149"/>
              <a:ext cx="328195" cy="340830"/>
            </a:xfrm>
            <a:prstGeom prst="downArrow">
              <a:avLst/>
            </a:prstGeom>
            <a:solidFill>
              <a:sysClr val="windowText" lastClr="000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56" name="L-Shape 155"/>
          <p:cNvSpPr>
            <a:spLocks noChangeAspect="1"/>
          </p:cNvSpPr>
          <p:nvPr/>
        </p:nvSpPr>
        <p:spPr>
          <a:xfrm rot="19279317">
            <a:off x="638550" y="4708652"/>
            <a:ext cx="701819" cy="427308"/>
          </a:xfrm>
          <a:prstGeom prst="corner">
            <a:avLst>
              <a:gd name="adj1" fmla="val 23479"/>
              <a:gd name="adj2" fmla="val 27803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7" name="Multiply 156"/>
          <p:cNvSpPr/>
          <p:nvPr/>
        </p:nvSpPr>
        <p:spPr>
          <a:xfrm>
            <a:off x="209199" y="5867400"/>
            <a:ext cx="780260" cy="755735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8" name="Multiply 157"/>
          <p:cNvSpPr/>
          <p:nvPr/>
        </p:nvSpPr>
        <p:spPr>
          <a:xfrm>
            <a:off x="2222193" y="5886643"/>
            <a:ext cx="780260" cy="755735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5537781" y="1542696"/>
            <a:ext cx="2204848" cy="1053395"/>
          </a:xfrm>
          <a:prstGeom prst="rect">
            <a:avLst/>
          </a:prstGeom>
          <a:noFill/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hamber                        </a:t>
            </a:r>
            <a:r>
              <a:rPr kumimoji="0" lang="en-US" sz="1100" b="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hamber</a:t>
            </a:r>
            <a:r>
              <a:rPr kumimoji="0" lang="en-US" sz="11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           1                   2</a:t>
            </a:r>
          </a:p>
        </p:txBody>
      </p:sp>
      <p:cxnSp>
        <p:nvCxnSpPr>
          <p:cNvPr id="160" name="Elbow Connector 159"/>
          <p:cNvCxnSpPr/>
          <p:nvPr/>
        </p:nvCxnSpPr>
        <p:spPr>
          <a:xfrm rot="16200000" flipH="1">
            <a:off x="5242560" y="1531620"/>
            <a:ext cx="548640" cy="365760"/>
          </a:xfrm>
          <a:prstGeom prst="bentConnector2">
            <a:avLst/>
          </a:prstGeom>
          <a:noFill/>
          <a:ln w="762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1" name="Elbow Connector 441"/>
          <p:cNvCxnSpPr/>
          <p:nvPr/>
        </p:nvCxnSpPr>
        <p:spPr>
          <a:xfrm flipH="1" flipV="1">
            <a:off x="7886524" y="1959797"/>
            <a:ext cx="685716" cy="2"/>
          </a:xfrm>
          <a:prstGeom prst="straightConnector1">
            <a:avLst/>
          </a:prstGeom>
          <a:noFill/>
          <a:ln w="762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2" name="Straight Connector 161"/>
          <p:cNvCxnSpPr/>
          <p:nvPr/>
        </p:nvCxnSpPr>
        <p:spPr>
          <a:xfrm>
            <a:off x="6966185" y="1542698"/>
            <a:ext cx="0" cy="412578"/>
          </a:xfrm>
          <a:prstGeom prst="line">
            <a:avLst/>
          </a:prstGeom>
          <a:noFill/>
          <a:ln w="762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3" name="Straight Connector 162"/>
          <p:cNvCxnSpPr/>
          <p:nvPr/>
        </p:nvCxnSpPr>
        <p:spPr>
          <a:xfrm>
            <a:off x="6966185" y="2174736"/>
            <a:ext cx="0" cy="421356"/>
          </a:xfrm>
          <a:prstGeom prst="line">
            <a:avLst/>
          </a:prstGeom>
          <a:noFill/>
          <a:ln w="76200" cap="flat" cmpd="sng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4" name="Straight Arrow Connector 163"/>
          <p:cNvCxnSpPr/>
          <p:nvPr/>
        </p:nvCxnSpPr>
        <p:spPr>
          <a:xfrm>
            <a:off x="5555258" y="2750820"/>
            <a:ext cx="2186449" cy="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lg" len="lg"/>
            <a:tailEnd type="triangle" w="lg" len="lg"/>
          </a:ln>
          <a:effectLst/>
        </p:spPr>
      </p:cxnSp>
      <p:sp>
        <p:nvSpPr>
          <p:cNvPr id="165" name="Cube 164"/>
          <p:cNvSpPr/>
          <p:nvPr/>
        </p:nvSpPr>
        <p:spPr>
          <a:xfrm>
            <a:off x="5410201" y="1066800"/>
            <a:ext cx="2781470" cy="475896"/>
          </a:xfrm>
          <a:prstGeom prst="cube">
            <a:avLst>
              <a:gd name="adj" fmla="val 84068"/>
            </a:avLst>
          </a:prstGeom>
          <a:solidFill>
            <a:sysClr val="window" lastClr="FFFFFF">
              <a:lumMod val="75000"/>
            </a:sys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66" name="Straight Connector 165"/>
          <p:cNvCxnSpPr/>
          <p:nvPr/>
        </p:nvCxnSpPr>
        <p:spPr>
          <a:xfrm flipV="1">
            <a:off x="5334000" y="1272541"/>
            <a:ext cx="0" cy="167639"/>
          </a:xfrm>
          <a:prstGeom prst="line">
            <a:avLst/>
          </a:prstGeom>
          <a:noFill/>
          <a:ln w="76200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167" name="Straight Arrow Connector 166"/>
          <p:cNvCxnSpPr/>
          <p:nvPr/>
        </p:nvCxnSpPr>
        <p:spPr>
          <a:xfrm flipV="1">
            <a:off x="7886524" y="2261256"/>
            <a:ext cx="419276" cy="489564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lg" len="lg"/>
            <a:tailEnd type="triangle" w="lg" len="lg"/>
          </a:ln>
          <a:effectLst/>
        </p:spPr>
      </p:cxnSp>
      <p:sp>
        <p:nvSpPr>
          <p:cNvPr id="168" name="TextBox 167"/>
          <p:cNvSpPr txBox="1"/>
          <p:nvPr/>
        </p:nvSpPr>
        <p:spPr>
          <a:xfrm>
            <a:off x="8191671" y="2347668"/>
            <a:ext cx="8511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  <a:latin typeface="Calibri"/>
              </a:rPr>
              <a:t>75</a:t>
            </a:r>
            <a:r>
              <a:rPr lang="mr-IN" sz="1400" dirty="0" smtClean="0">
                <a:solidFill>
                  <a:srgbClr val="FF0000"/>
                </a:solidFill>
                <a:latin typeface="Calibri"/>
              </a:rPr>
              <a:t>सेमी मिन.</a:t>
            </a:r>
            <a:endParaRPr lang="en-US" sz="1400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5935980" y="2796309"/>
            <a:ext cx="1386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  <a:latin typeface="Calibri"/>
              </a:rPr>
              <a:t>2- 4 </a:t>
            </a:r>
            <a:r>
              <a:rPr lang="mr-IN" sz="1400" dirty="0" smtClean="0">
                <a:solidFill>
                  <a:srgbClr val="FF0000"/>
                </a:solidFill>
                <a:latin typeface="Calibri"/>
              </a:rPr>
              <a:t>पट रुंदी</a:t>
            </a:r>
            <a:endParaRPr lang="en-US" sz="1400" dirty="0">
              <a:solidFill>
                <a:srgbClr val="FF0000"/>
              </a:solidFill>
              <a:latin typeface="Calibri"/>
            </a:endParaRPr>
          </a:p>
        </p:txBody>
      </p:sp>
      <p:cxnSp>
        <p:nvCxnSpPr>
          <p:cNvPr id="170" name="Straight Arrow Connector 169"/>
          <p:cNvCxnSpPr/>
          <p:nvPr/>
        </p:nvCxnSpPr>
        <p:spPr>
          <a:xfrm flipV="1">
            <a:off x="5098509" y="1748987"/>
            <a:ext cx="6891" cy="875341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lg" len="lg"/>
            <a:tailEnd type="triangle" w="lg" len="lg"/>
          </a:ln>
          <a:effectLst/>
        </p:spPr>
      </p:cxnSp>
      <p:sp>
        <p:nvSpPr>
          <p:cNvPr id="171" name="TextBox 170"/>
          <p:cNvSpPr txBox="1"/>
          <p:nvPr/>
        </p:nvSpPr>
        <p:spPr>
          <a:xfrm>
            <a:off x="4572000" y="1906093"/>
            <a:ext cx="5971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  <a:latin typeface="Calibri"/>
              </a:rPr>
              <a:t>1 </a:t>
            </a:r>
            <a:r>
              <a:rPr lang="mr-IN" sz="1400" dirty="0" smtClean="0">
                <a:solidFill>
                  <a:srgbClr val="FF0000"/>
                </a:solidFill>
                <a:latin typeface="Calibri"/>
              </a:rPr>
              <a:t>मी</a:t>
            </a:r>
            <a:r>
              <a:rPr lang="en-US" sz="1400" dirty="0" smtClean="0">
                <a:solidFill>
                  <a:srgbClr val="FF0000"/>
                </a:solidFill>
                <a:latin typeface="Calibri"/>
              </a:rPr>
              <a:t> </a:t>
            </a:r>
          </a:p>
          <a:p>
            <a:r>
              <a:rPr lang="mr-IN" sz="1400" dirty="0" smtClean="0">
                <a:solidFill>
                  <a:srgbClr val="FF0000"/>
                </a:solidFill>
                <a:latin typeface="Calibri"/>
              </a:rPr>
              <a:t>मिन.</a:t>
            </a:r>
            <a:endParaRPr lang="en-US" sz="1400" dirty="0">
              <a:solidFill>
                <a:srgbClr val="FF0000"/>
              </a:solidFill>
              <a:latin typeface="Calibri"/>
            </a:endParaRPr>
          </a:p>
        </p:txBody>
      </p:sp>
      <p:cxnSp>
        <p:nvCxnSpPr>
          <p:cNvPr id="172" name="Straight Connector 171"/>
          <p:cNvCxnSpPr/>
          <p:nvPr/>
        </p:nvCxnSpPr>
        <p:spPr>
          <a:xfrm flipH="1">
            <a:off x="4876800" y="1737360"/>
            <a:ext cx="975360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</a:ln>
          <a:effectLst/>
        </p:spPr>
      </p:cxnSp>
      <p:sp>
        <p:nvSpPr>
          <p:cNvPr id="173" name="Rectangle 172"/>
          <p:cNvSpPr/>
          <p:nvPr/>
        </p:nvSpPr>
        <p:spPr>
          <a:xfrm>
            <a:off x="4343400" y="838199"/>
            <a:ext cx="4572000" cy="2286001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74" name="Table 173"/>
          <p:cNvGraphicFramePr>
            <a:graphicFrameLocks noGrp="1"/>
          </p:cNvGraphicFramePr>
          <p:nvPr>
            <p:extLst/>
          </p:nvPr>
        </p:nvGraphicFramePr>
        <p:xfrm>
          <a:off x="4333874" y="3224136"/>
          <a:ext cx="4581525" cy="3405266"/>
        </p:xfrm>
        <a:graphic>
          <a:graphicData uri="http://schemas.openxmlformats.org/drawingml/2006/table">
            <a:tbl>
              <a:tblPr firstRow="1" bandRow="1"/>
              <a:tblGrid>
                <a:gridCol w="1000126"/>
                <a:gridCol w="609600"/>
                <a:gridCol w="609600"/>
                <a:gridCol w="1143000"/>
                <a:gridCol w="1219199"/>
              </a:tblGrid>
              <a:tr h="291880"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mr-IN" sz="1200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ापरणार्‍यांची संख्या 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kumimoji="0" lang="hi-IN" sz="1200" b="1" kern="1200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लांबी (मी)</a:t>
                      </a:r>
                      <a:endParaRPr kumimoji="0" lang="en-US" sz="1200" b="1" kern="1200" dirty="0">
                        <a:solidFill>
                          <a:schemeClr val="bg1"/>
                        </a:solidFill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algn="ctr" rtl="0" eaLnBrk="1" latinLnBrk="0" hangingPunct="1"/>
                      <a:r>
                        <a:rPr kumimoji="0" lang="hi-IN" sz="1200" b="1" kern="1200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रुंदी (मी)</a:t>
                      </a:r>
                      <a:endParaRPr kumimoji="0" lang="en-US" sz="1200" b="1" kern="1200" dirty="0">
                        <a:solidFill>
                          <a:schemeClr val="bg1"/>
                        </a:solidFill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>
                      <a:lvl1pPr marL="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mr-IN" sz="1200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ाण्याची खोली </a:t>
                      </a:r>
                      <a:endParaRPr lang="en-US" sz="1200" dirty="0">
                        <a:solidFill>
                          <a:schemeClr val="bg1"/>
                        </a:solidFill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8646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mr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२</a:t>
                      </a:r>
                      <a:r>
                        <a:rPr lang="hi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mr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र्षांतून एकदा</a:t>
                      </a:r>
                      <a:r>
                        <a:rPr lang="hi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सफाई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mr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३</a:t>
                      </a:r>
                      <a:r>
                        <a:rPr lang="hi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mr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र्षांतून एकदा</a:t>
                      </a:r>
                      <a:r>
                        <a:rPr lang="hi-IN" sz="1200" b="1" dirty="0" smtClean="0">
                          <a:solidFill>
                            <a:schemeClr val="bg1"/>
                          </a:solidFill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सफाई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5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5</a:t>
                      </a: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.75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5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.9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7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5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0.9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6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1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6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1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5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5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54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0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7.5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.65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54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5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0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54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20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2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54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40000"/>
                      </a:sysClr>
                    </a:solidFill>
                  </a:tcPr>
                </a:tc>
              </a:tr>
              <a:tr h="291880"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300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5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3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rtl="0" eaLnBrk="1" latinLnBrk="0" hangingPunct="1">
                        <a:defRPr kumimoji="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/>
                        <a:t>1.54</a:t>
                      </a:r>
                      <a:endParaRPr lang="en-US" sz="1200" dirty="0"/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tint val="20000"/>
                      </a:sys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319117" y="6629400"/>
            <a:ext cx="350128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* - </a:t>
            </a:r>
            <a:r>
              <a:rPr lang="mr-IN" sz="900" dirty="0" smtClean="0"/>
              <a:t>३०० mm बोर्डसहित</a:t>
            </a:r>
            <a:endParaRPr lang="en-US" sz="900" dirty="0"/>
          </a:p>
        </p:txBody>
      </p:sp>
      <p:cxnSp>
        <p:nvCxnSpPr>
          <p:cNvPr id="175" name="Straight Arrow Connector 174"/>
          <p:cNvCxnSpPr/>
          <p:nvPr/>
        </p:nvCxnSpPr>
        <p:spPr>
          <a:xfrm flipV="1">
            <a:off x="6835173" y="1855716"/>
            <a:ext cx="0" cy="410264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triangle" w="lg" len="lg"/>
            <a:tailEnd type="triangle" w="lg" len="lg"/>
          </a:ln>
          <a:effectLst/>
        </p:spPr>
      </p:cxnSp>
      <p:sp>
        <p:nvSpPr>
          <p:cNvPr id="176" name="TextBox 175"/>
          <p:cNvSpPr txBox="1"/>
          <p:nvPr/>
        </p:nvSpPr>
        <p:spPr>
          <a:xfrm>
            <a:off x="6363908" y="1940719"/>
            <a:ext cx="8511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Calibri"/>
              </a:rPr>
              <a:t>75 mm</a:t>
            </a:r>
            <a:endParaRPr lang="en-US" sz="1000" dirty="0">
              <a:latin typeface="Calibri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33600" y="6477000"/>
            <a:ext cx="6226384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700" dirty="0" smtClean="0">
                <a:solidFill>
                  <a:srgbClr val="FF0000"/>
                </a:solidFill>
              </a:rPr>
              <a:t>स्त्रोत: सीपीएचइइओ नियमपुस्तिका- सांडपाणी व सांडपाणी प्रक्रिया प्रणाली विभाग- अ (अभियांत्रिकी) </a:t>
            </a:r>
            <a:r>
              <a:rPr lang="en-US" sz="700" dirty="0" smtClean="0">
                <a:solidFill>
                  <a:srgbClr val="FF0000"/>
                </a:solidFill>
              </a:rPr>
              <a:t> </a:t>
            </a:r>
            <a:endParaRPr lang="en-US" sz="700" dirty="0">
              <a:solidFill>
                <a:srgbClr val="FF0000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152400" y="6705600"/>
            <a:ext cx="912955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800" dirty="0" smtClean="0">
                <a:solidFill>
                  <a:srgbClr val="FF0000"/>
                </a:solidFill>
              </a:rPr>
              <a:t>स्त्रोत: महाराष्ट्रातील नगर पंचायत व नगर परिषद – विकास नियंत्रण व प्रसार</a:t>
            </a:r>
            <a:endParaRPr lang="en-US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377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4077" y="83291"/>
            <a:ext cx="7886700" cy="708710"/>
          </a:xfrm>
        </p:spPr>
        <p:txBody>
          <a:bodyPr/>
          <a:lstStyle/>
          <a:p>
            <a:pPr lvl="3"/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ंतर्गम </a:t>
            </a:r>
            <a:r>
              <a:rPr lang="mr-IN" sz="3200" b="1" kern="1200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(</a:t>
            </a:r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nlet) व निर्गम (outlet)</a:t>
            </a:r>
            <a:endParaRPr lang="en-US" sz="3200" b="1" kern="1200" dirty="0">
              <a:solidFill>
                <a:schemeClr val="tx2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23" name="Rectangle 322"/>
          <p:cNvSpPr/>
          <p:nvPr/>
        </p:nvSpPr>
        <p:spPr>
          <a:xfrm>
            <a:off x="214077" y="833997"/>
            <a:ext cx="3367324" cy="5872922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lIns="0" rIns="0"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ैला किंवा</a:t>
            </a:r>
            <a:r>
              <a:rPr lang="en-US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िचऱ्याच्या पातळीवर </a:t>
            </a:r>
            <a:r>
              <a:rPr lang="mr-IN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ंतर्गम</a:t>
            </a: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अथवा</a:t>
            </a:r>
            <a:r>
              <a:rPr lang="mr-IN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निर्गम</a:t>
            </a: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ठेवू नका 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24" name="Rectangle 323"/>
          <p:cNvSpPr/>
          <p:nvPr/>
        </p:nvSpPr>
        <p:spPr>
          <a:xfrm>
            <a:off x="3733799" y="839223"/>
            <a:ext cx="5285407" cy="2044946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ंतर्गम </a:t>
            </a: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आणि </a:t>
            </a:r>
            <a:r>
              <a:rPr lang="mr-IN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िर्गम</a:t>
            </a: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मान पातळीवर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नसावे. त्याने मैला जमा न होता वाहून जाऊ शकते. </a:t>
            </a:r>
            <a:endParaRPr kumimoji="0" lang="en-US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25" name="Group 324"/>
          <p:cNvGrpSpPr/>
          <p:nvPr/>
        </p:nvGrpSpPr>
        <p:grpSpPr>
          <a:xfrm>
            <a:off x="678971" y="1804946"/>
            <a:ext cx="2437535" cy="926823"/>
            <a:chOff x="3667468" y="1256655"/>
            <a:chExt cx="3284221" cy="1285878"/>
          </a:xfrm>
        </p:grpSpPr>
        <p:grpSp>
          <p:nvGrpSpPr>
            <p:cNvPr id="326" name="Group 325"/>
            <p:cNvGrpSpPr/>
            <p:nvPr/>
          </p:nvGrpSpPr>
          <p:grpSpPr>
            <a:xfrm>
              <a:off x="4412815" y="1445796"/>
              <a:ext cx="1986731" cy="200560"/>
              <a:chOff x="2214471" y="6226491"/>
              <a:chExt cx="1475340" cy="143352"/>
            </a:xfrm>
          </p:grpSpPr>
          <p:sp>
            <p:nvSpPr>
              <p:cNvPr id="333" name="Oval 332"/>
              <p:cNvSpPr/>
              <p:nvPr/>
            </p:nvSpPr>
            <p:spPr>
              <a:xfrm>
                <a:off x="2214471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4" name="Oval 333"/>
              <p:cNvSpPr/>
              <p:nvPr/>
            </p:nvSpPr>
            <p:spPr>
              <a:xfrm>
                <a:off x="2281055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5" name="Oval 334"/>
              <p:cNvSpPr/>
              <p:nvPr/>
            </p:nvSpPr>
            <p:spPr>
              <a:xfrm>
                <a:off x="2347639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6" name="Oval 335"/>
              <p:cNvSpPr/>
              <p:nvPr/>
            </p:nvSpPr>
            <p:spPr>
              <a:xfrm>
                <a:off x="2414224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7" name="Oval 336"/>
              <p:cNvSpPr/>
              <p:nvPr/>
            </p:nvSpPr>
            <p:spPr>
              <a:xfrm>
                <a:off x="248987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8" name="Oval 337"/>
              <p:cNvSpPr/>
              <p:nvPr/>
            </p:nvSpPr>
            <p:spPr>
              <a:xfrm>
                <a:off x="2576544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9" name="Oval 338"/>
              <p:cNvSpPr/>
              <p:nvPr/>
            </p:nvSpPr>
            <p:spPr>
              <a:xfrm>
                <a:off x="2643128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0" name="Oval 339"/>
              <p:cNvSpPr/>
              <p:nvPr/>
            </p:nvSpPr>
            <p:spPr>
              <a:xfrm>
                <a:off x="2728943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1" name="Oval 340"/>
              <p:cNvSpPr/>
              <p:nvPr/>
            </p:nvSpPr>
            <p:spPr>
              <a:xfrm>
                <a:off x="2823186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2" name="Oval 341"/>
              <p:cNvSpPr/>
              <p:nvPr/>
            </p:nvSpPr>
            <p:spPr>
              <a:xfrm>
                <a:off x="2889770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3" name="Oval 342"/>
              <p:cNvSpPr/>
              <p:nvPr/>
            </p:nvSpPr>
            <p:spPr>
              <a:xfrm>
                <a:off x="2956354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4" name="Oval 343"/>
              <p:cNvSpPr/>
              <p:nvPr/>
            </p:nvSpPr>
            <p:spPr>
              <a:xfrm>
                <a:off x="3022939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5" name="Oval 344"/>
              <p:cNvSpPr/>
              <p:nvPr/>
            </p:nvSpPr>
            <p:spPr>
              <a:xfrm>
                <a:off x="3098593" y="6243637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6" name="Oval 345"/>
              <p:cNvSpPr/>
              <p:nvPr/>
            </p:nvSpPr>
            <p:spPr>
              <a:xfrm>
                <a:off x="3185259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7" name="Oval 346"/>
              <p:cNvSpPr/>
              <p:nvPr/>
            </p:nvSpPr>
            <p:spPr>
              <a:xfrm>
                <a:off x="3251843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8" name="Oval 347"/>
              <p:cNvSpPr/>
              <p:nvPr/>
            </p:nvSpPr>
            <p:spPr>
              <a:xfrm>
                <a:off x="3337658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9" name="Oval 348"/>
              <p:cNvSpPr/>
              <p:nvPr/>
            </p:nvSpPr>
            <p:spPr>
              <a:xfrm>
                <a:off x="3042170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0" name="Oval 349"/>
              <p:cNvSpPr/>
              <p:nvPr/>
            </p:nvSpPr>
            <p:spPr>
              <a:xfrm>
                <a:off x="3108754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1" name="Oval 350"/>
              <p:cNvSpPr/>
              <p:nvPr/>
            </p:nvSpPr>
            <p:spPr>
              <a:xfrm>
                <a:off x="317533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2" name="Oval 351"/>
              <p:cNvSpPr/>
              <p:nvPr/>
            </p:nvSpPr>
            <p:spPr>
              <a:xfrm>
                <a:off x="3241923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3" name="Oval 352"/>
              <p:cNvSpPr/>
              <p:nvPr/>
            </p:nvSpPr>
            <p:spPr>
              <a:xfrm>
                <a:off x="3317577" y="6242684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4" name="Oval 353"/>
              <p:cNvSpPr/>
              <p:nvPr/>
            </p:nvSpPr>
            <p:spPr>
              <a:xfrm>
                <a:off x="3404243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5" name="Oval 354"/>
              <p:cNvSpPr/>
              <p:nvPr/>
            </p:nvSpPr>
            <p:spPr>
              <a:xfrm>
                <a:off x="3470827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6" name="Oval 355"/>
              <p:cNvSpPr/>
              <p:nvPr/>
            </p:nvSpPr>
            <p:spPr>
              <a:xfrm>
                <a:off x="3556642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7" name="Oval 356"/>
              <p:cNvSpPr/>
              <p:nvPr/>
            </p:nvSpPr>
            <p:spPr>
              <a:xfrm>
                <a:off x="2362019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8" name="Oval 357"/>
              <p:cNvSpPr/>
              <p:nvPr/>
            </p:nvSpPr>
            <p:spPr>
              <a:xfrm>
                <a:off x="2428603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9" name="Oval 358"/>
              <p:cNvSpPr/>
              <p:nvPr/>
            </p:nvSpPr>
            <p:spPr>
              <a:xfrm>
                <a:off x="2495187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0" name="Oval 359"/>
              <p:cNvSpPr/>
              <p:nvPr/>
            </p:nvSpPr>
            <p:spPr>
              <a:xfrm>
                <a:off x="2561772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1" name="Oval 360"/>
              <p:cNvSpPr/>
              <p:nvPr/>
            </p:nvSpPr>
            <p:spPr>
              <a:xfrm>
                <a:off x="2637426" y="623125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2" name="Oval 361"/>
              <p:cNvSpPr/>
              <p:nvPr/>
            </p:nvSpPr>
            <p:spPr>
              <a:xfrm>
                <a:off x="2724092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3" name="Oval 362"/>
              <p:cNvSpPr/>
              <p:nvPr/>
            </p:nvSpPr>
            <p:spPr>
              <a:xfrm>
                <a:off x="2790676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4" name="Oval 363"/>
              <p:cNvSpPr/>
              <p:nvPr/>
            </p:nvSpPr>
            <p:spPr>
              <a:xfrm>
                <a:off x="2876491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27" name="Rectangle 326"/>
            <p:cNvSpPr/>
            <p:nvPr/>
          </p:nvSpPr>
          <p:spPr>
            <a:xfrm>
              <a:off x="4389538" y="1583055"/>
              <a:ext cx="2029000" cy="959476"/>
            </a:xfrm>
            <a:prstGeom prst="rect">
              <a:avLst/>
            </a:prstGeom>
            <a:solidFill>
              <a:srgbClr val="FFC0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8" name="Isosceles Triangle 327"/>
            <p:cNvSpPr/>
            <p:nvPr/>
          </p:nvSpPr>
          <p:spPr>
            <a:xfrm>
              <a:off x="4389538" y="2222707"/>
              <a:ext cx="2029000" cy="319824"/>
            </a:xfrm>
            <a:prstGeom prst="triangle">
              <a:avLst>
                <a:gd name="adj" fmla="val 0"/>
              </a:avLst>
            </a:prstGeom>
            <a:solidFill>
              <a:srgbClr val="542A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9" name="Rectangle 328"/>
            <p:cNvSpPr/>
            <p:nvPr/>
          </p:nvSpPr>
          <p:spPr>
            <a:xfrm>
              <a:off x="4389538" y="1263231"/>
              <a:ext cx="2029000" cy="1279302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30" name="Elbow Connector 329"/>
            <p:cNvCxnSpPr/>
            <p:nvPr/>
          </p:nvCxnSpPr>
          <p:spPr>
            <a:xfrm rot="16200000" flipH="1">
              <a:off x="3940351" y="1200309"/>
              <a:ext cx="603506" cy="738812"/>
            </a:xfrm>
            <a:prstGeom prst="bentConnector2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31" name="Elbow Connector 257"/>
            <p:cNvCxnSpPr/>
            <p:nvPr/>
          </p:nvCxnSpPr>
          <p:spPr>
            <a:xfrm flipH="1" flipV="1">
              <a:off x="6095976" y="2103921"/>
              <a:ext cx="529953" cy="2"/>
            </a:xfrm>
            <a:prstGeom prst="straightConnector1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332" name="Straight Connector 331"/>
            <p:cNvCxnSpPr/>
            <p:nvPr/>
          </p:nvCxnSpPr>
          <p:spPr>
            <a:xfrm flipV="1">
              <a:off x="3667468" y="1256655"/>
              <a:ext cx="3284221" cy="6576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</p:grpSp>
      <p:grpSp>
        <p:nvGrpSpPr>
          <p:cNvPr id="365" name="Group 364"/>
          <p:cNvGrpSpPr/>
          <p:nvPr/>
        </p:nvGrpSpPr>
        <p:grpSpPr>
          <a:xfrm>
            <a:off x="550412" y="5262099"/>
            <a:ext cx="2580263" cy="956004"/>
            <a:chOff x="540968" y="4349874"/>
            <a:chExt cx="2410780" cy="827481"/>
          </a:xfrm>
        </p:grpSpPr>
        <p:sp>
          <p:nvSpPr>
            <p:cNvPr id="366" name="Oval 365"/>
            <p:cNvSpPr/>
            <p:nvPr/>
          </p:nvSpPr>
          <p:spPr>
            <a:xfrm>
              <a:off x="1214168" y="447399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7" name="Oval 366"/>
            <p:cNvSpPr/>
            <p:nvPr/>
          </p:nvSpPr>
          <p:spPr>
            <a:xfrm>
              <a:off x="1274211" y="447399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8" name="Oval 367"/>
            <p:cNvSpPr/>
            <p:nvPr/>
          </p:nvSpPr>
          <p:spPr>
            <a:xfrm>
              <a:off x="1334258" y="447399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9" name="Oval 368"/>
            <p:cNvSpPr/>
            <p:nvPr/>
          </p:nvSpPr>
          <p:spPr>
            <a:xfrm>
              <a:off x="1394304" y="447399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0" name="Oval 369"/>
            <p:cNvSpPr/>
            <p:nvPr/>
          </p:nvSpPr>
          <p:spPr>
            <a:xfrm>
              <a:off x="1462527" y="4478305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1" name="Oval 370"/>
            <p:cNvSpPr/>
            <p:nvPr/>
          </p:nvSpPr>
          <p:spPr>
            <a:xfrm>
              <a:off x="1540683" y="4482182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2" name="Oval 371"/>
            <p:cNvSpPr/>
            <p:nvPr/>
          </p:nvSpPr>
          <p:spPr>
            <a:xfrm>
              <a:off x="1600727" y="4482182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3" name="Oval 372"/>
            <p:cNvSpPr/>
            <p:nvPr/>
          </p:nvSpPr>
          <p:spPr>
            <a:xfrm>
              <a:off x="1678114" y="4482182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4" name="Oval 373"/>
            <p:cNvSpPr/>
            <p:nvPr/>
          </p:nvSpPr>
          <p:spPr>
            <a:xfrm>
              <a:off x="1763102" y="447916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5" name="Oval 374"/>
            <p:cNvSpPr/>
            <p:nvPr/>
          </p:nvSpPr>
          <p:spPr>
            <a:xfrm>
              <a:off x="1823148" y="447916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6" name="Oval 375"/>
            <p:cNvSpPr/>
            <p:nvPr/>
          </p:nvSpPr>
          <p:spPr>
            <a:xfrm>
              <a:off x="1883193" y="447916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7" name="Oval 376"/>
            <p:cNvSpPr/>
            <p:nvPr/>
          </p:nvSpPr>
          <p:spPr>
            <a:xfrm>
              <a:off x="1943238" y="447916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8" name="Oval 377"/>
            <p:cNvSpPr/>
            <p:nvPr/>
          </p:nvSpPr>
          <p:spPr>
            <a:xfrm>
              <a:off x="2011462" y="448347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9" name="Oval 378"/>
            <p:cNvSpPr/>
            <p:nvPr/>
          </p:nvSpPr>
          <p:spPr>
            <a:xfrm>
              <a:off x="2089618" y="448735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0" name="Oval 379"/>
            <p:cNvSpPr/>
            <p:nvPr/>
          </p:nvSpPr>
          <p:spPr>
            <a:xfrm>
              <a:off x="2149662" y="448735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1" name="Oval 380"/>
            <p:cNvSpPr/>
            <p:nvPr/>
          </p:nvSpPr>
          <p:spPr>
            <a:xfrm>
              <a:off x="2227049" y="448735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2" name="Oval 381"/>
            <p:cNvSpPr/>
            <p:nvPr/>
          </p:nvSpPr>
          <p:spPr>
            <a:xfrm>
              <a:off x="1960581" y="4478305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3" name="Oval 382"/>
            <p:cNvSpPr/>
            <p:nvPr/>
          </p:nvSpPr>
          <p:spPr>
            <a:xfrm>
              <a:off x="2020626" y="4478305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4" name="Oval 383"/>
            <p:cNvSpPr/>
            <p:nvPr/>
          </p:nvSpPr>
          <p:spPr>
            <a:xfrm>
              <a:off x="2080671" y="4478305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5" name="Oval 384"/>
            <p:cNvSpPr/>
            <p:nvPr/>
          </p:nvSpPr>
          <p:spPr>
            <a:xfrm>
              <a:off x="2140716" y="4478305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6" name="Oval 385"/>
            <p:cNvSpPr/>
            <p:nvPr/>
          </p:nvSpPr>
          <p:spPr>
            <a:xfrm>
              <a:off x="2208940" y="448261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7" name="Oval 386"/>
            <p:cNvSpPr/>
            <p:nvPr/>
          </p:nvSpPr>
          <p:spPr>
            <a:xfrm>
              <a:off x="2287095" y="448649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8" name="Oval 387"/>
            <p:cNvSpPr/>
            <p:nvPr/>
          </p:nvSpPr>
          <p:spPr>
            <a:xfrm>
              <a:off x="2347139" y="448649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9" name="Oval 388"/>
            <p:cNvSpPr/>
            <p:nvPr/>
          </p:nvSpPr>
          <p:spPr>
            <a:xfrm>
              <a:off x="2424527" y="448649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0" name="Oval 389"/>
            <p:cNvSpPr/>
            <p:nvPr/>
          </p:nvSpPr>
          <p:spPr>
            <a:xfrm>
              <a:off x="1347225" y="446796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1" name="Oval 390"/>
            <p:cNvSpPr/>
            <p:nvPr/>
          </p:nvSpPr>
          <p:spPr>
            <a:xfrm>
              <a:off x="1407271" y="446796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2" name="Oval 391"/>
            <p:cNvSpPr/>
            <p:nvPr/>
          </p:nvSpPr>
          <p:spPr>
            <a:xfrm>
              <a:off x="1467315" y="446796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3" name="Oval 392"/>
            <p:cNvSpPr/>
            <p:nvPr/>
          </p:nvSpPr>
          <p:spPr>
            <a:xfrm>
              <a:off x="1527363" y="446796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4" name="Oval 393"/>
            <p:cNvSpPr/>
            <p:nvPr/>
          </p:nvSpPr>
          <p:spPr>
            <a:xfrm>
              <a:off x="1595586" y="4472269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5" name="Oval 394"/>
            <p:cNvSpPr/>
            <p:nvPr/>
          </p:nvSpPr>
          <p:spPr>
            <a:xfrm>
              <a:off x="1673740" y="44761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6" name="Oval 395"/>
            <p:cNvSpPr/>
            <p:nvPr/>
          </p:nvSpPr>
          <p:spPr>
            <a:xfrm>
              <a:off x="1733786" y="44761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7" name="Oval 396"/>
            <p:cNvSpPr/>
            <p:nvPr/>
          </p:nvSpPr>
          <p:spPr>
            <a:xfrm>
              <a:off x="1811171" y="44761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8" name="Rectangle 397"/>
            <p:cNvSpPr/>
            <p:nvPr/>
          </p:nvSpPr>
          <p:spPr>
            <a:xfrm>
              <a:off x="1198580" y="4556743"/>
              <a:ext cx="1358756" cy="620612"/>
            </a:xfrm>
            <a:prstGeom prst="rect">
              <a:avLst/>
            </a:prstGeom>
            <a:solidFill>
              <a:srgbClr val="FFC0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9" name="Isosceles Triangle 398"/>
            <p:cNvSpPr/>
            <p:nvPr/>
          </p:nvSpPr>
          <p:spPr>
            <a:xfrm>
              <a:off x="1198580" y="4970484"/>
              <a:ext cx="1358756" cy="206869"/>
            </a:xfrm>
            <a:prstGeom prst="triangle">
              <a:avLst>
                <a:gd name="adj" fmla="val 0"/>
              </a:avLst>
            </a:prstGeom>
            <a:solidFill>
              <a:srgbClr val="542A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0" name="Rectangle 399"/>
            <p:cNvSpPr/>
            <p:nvPr/>
          </p:nvSpPr>
          <p:spPr>
            <a:xfrm>
              <a:off x="1199051" y="4349874"/>
              <a:ext cx="1358756" cy="827481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01" name="Elbow Connector 400"/>
            <p:cNvCxnSpPr/>
            <p:nvPr/>
          </p:nvCxnSpPr>
          <p:spPr>
            <a:xfrm rot="16200000" flipH="1">
              <a:off x="748635" y="4454174"/>
              <a:ext cx="703359" cy="494759"/>
            </a:xfrm>
            <a:prstGeom prst="bentConnector2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02" name="Elbow Connector 542"/>
            <p:cNvCxnSpPr/>
            <p:nvPr/>
          </p:nvCxnSpPr>
          <p:spPr>
            <a:xfrm flipH="1">
              <a:off x="2282247" y="5053233"/>
              <a:ext cx="545390" cy="2"/>
            </a:xfrm>
            <a:prstGeom prst="straightConnector1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03" name="Straight Connector 402"/>
            <p:cNvCxnSpPr/>
            <p:nvPr/>
          </p:nvCxnSpPr>
          <p:spPr>
            <a:xfrm>
              <a:off x="540968" y="4349874"/>
              <a:ext cx="2410780" cy="0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</p:grpSp>
      <p:grpSp>
        <p:nvGrpSpPr>
          <p:cNvPr id="404" name="Group 403"/>
          <p:cNvGrpSpPr/>
          <p:nvPr/>
        </p:nvGrpSpPr>
        <p:grpSpPr>
          <a:xfrm>
            <a:off x="556194" y="3593932"/>
            <a:ext cx="2568006" cy="956004"/>
            <a:chOff x="575498" y="3360515"/>
            <a:chExt cx="2376250" cy="827481"/>
          </a:xfrm>
        </p:grpSpPr>
        <p:sp>
          <p:nvSpPr>
            <p:cNvPr id="405" name="Oval 404"/>
            <p:cNvSpPr/>
            <p:nvPr/>
          </p:nvSpPr>
          <p:spPr>
            <a:xfrm>
              <a:off x="1220984" y="348463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6" name="Oval 405"/>
            <p:cNvSpPr/>
            <p:nvPr/>
          </p:nvSpPr>
          <p:spPr>
            <a:xfrm>
              <a:off x="1281029" y="348463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7" name="Oval 406"/>
            <p:cNvSpPr/>
            <p:nvPr/>
          </p:nvSpPr>
          <p:spPr>
            <a:xfrm>
              <a:off x="1341076" y="348463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8" name="Oval 407"/>
            <p:cNvSpPr/>
            <p:nvPr/>
          </p:nvSpPr>
          <p:spPr>
            <a:xfrm>
              <a:off x="1401120" y="348463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9" name="Oval 408"/>
            <p:cNvSpPr/>
            <p:nvPr/>
          </p:nvSpPr>
          <p:spPr>
            <a:xfrm>
              <a:off x="1469345" y="34889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0" name="Oval 409"/>
            <p:cNvSpPr/>
            <p:nvPr/>
          </p:nvSpPr>
          <p:spPr>
            <a:xfrm>
              <a:off x="1547501" y="349282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1" name="Oval 410"/>
            <p:cNvSpPr/>
            <p:nvPr/>
          </p:nvSpPr>
          <p:spPr>
            <a:xfrm>
              <a:off x="1607545" y="349282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2" name="Oval 411"/>
            <p:cNvSpPr/>
            <p:nvPr/>
          </p:nvSpPr>
          <p:spPr>
            <a:xfrm>
              <a:off x="1684932" y="3492823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3" name="Oval 412"/>
            <p:cNvSpPr/>
            <p:nvPr/>
          </p:nvSpPr>
          <p:spPr>
            <a:xfrm>
              <a:off x="1769920" y="3489808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4" name="Oval 413"/>
            <p:cNvSpPr/>
            <p:nvPr/>
          </p:nvSpPr>
          <p:spPr>
            <a:xfrm>
              <a:off x="1829964" y="3489808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5" name="Oval 414"/>
            <p:cNvSpPr/>
            <p:nvPr/>
          </p:nvSpPr>
          <p:spPr>
            <a:xfrm>
              <a:off x="1890008" y="3489808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6" name="Oval 415"/>
            <p:cNvSpPr/>
            <p:nvPr/>
          </p:nvSpPr>
          <p:spPr>
            <a:xfrm>
              <a:off x="1950054" y="3489808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7" name="Oval 416"/>
            <p:cNvSpPr/>
            <p:nvPr/>
          </p:nvSpPr>
          <p:spPr>
            <a:xfrm>
              <a:off x="2018279" y="3494119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8" name="Oval 417"/>
            <p:cNvSpPr/>
            <p:nvPr/>
          </p:nvSpPr>
          <p:spPr>
            <a:xfrm>
              <a:off x="2096433" y="349799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9" name="Oval 418"/>
            <p:cNvSpPr/>
            <p:nvPr/>
          </p:nvSpPr>
          <p:spPr>
            <a:xfrm>
              <a:off x="2156477" y="349799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0" name="Oval 419"/>
            <p:cNvSpPr/>
            <p:nvPr/>
          </p:nvSpPr>
          <p:spPr>
            <a:xfrm>
              <a:off x="2233864" y="349799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1" name="Oval 420"/>
            <p:cNvSpPr/>
            <p:nvPr/>
          </p:nvSpPr>
          <p:spPr>
            <a:xfrm>
              <a:off x="1967397" y="34889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2" name="Oval 421"/>
            <p:cNvSpPr/>
            <p:nvPr/>
          </p:nvSpPr>
          <p:spPr>
            <a:xfrm>
              <a:off x="2027443" y="34889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3" name="Oval 422"/>
            <p:cNvSpPr/>
            <p:nvPr/>
          </p:nvSpPr>
          <p:spPr>
            <a:xfrm>
              <a:off x="2087485" y="34889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4" name="Oval 423"/>
            <p:cNvSpPr/>
            <p:nvPr/>
          </p:nvSpPr>
          <p:spPr>
            <a:xfrm>
              <a:off x="2147533" y="3488947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5" name="Oval 424"/>
            <p:cNvSpPr/>
            <p:nvPr/>
          </p:nvSpPr>
          <p:spPr>
            <a:xfrm>
              <a:off x="2215758" y="3493256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6" name="Oval 425"/>
            <p:cNvSpPr/>
            <p:nvPr/>
          </p:nvSpPr>
          <p:spPr>
            <a:xfrm>
              <a:off x="2293910" y="3497134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7" name="Oval 426"/>
            <p:cNvSpPr/>
            <p:nvPr/>
          </p:nvSpPr>
          <p:spPr>
            <a:xfrm>
              <a:off x="2353957" y="3497134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8" name="Oval 427"/>
            <p:cNvSpPr/>
            <p:nvPr/>
          </p:nvSpPr>
          <p:spPr>
            <a:xfrm>
              <a:off x="2431345" y="3497134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9" name="Oval 428"/>
            <p:cNvSpPr/>
            <p:nvPr/>
          </p:nvSpPr>
          <p:spPr>
            <a:xfrm>
              <a:off x="1354042" y="3478601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0" name="Oval 429"/>
            <p:cNvSpPr/>
            <p:nvPr/>
          </p:nvSpPr>
          <p:spPr>
            <a:xfrm>
              <a:off x="1414088" y="3478601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1" name="Oval 430"/>
            <p:cNvSpPr/>
            <p:nvPr/>
          </p:nvSpPr>
          <p:spPr>
            <a:xfrm>
              <a:off x="1474132" y="3478601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2" name="Oval 431"/>
            <p:cNvSpPr/>
            <p:nvPr/>
          </p:nvSpPr>
          <p:spPr>
            <a:xfrm>
              <a:off x="1534177" y="3478601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3" name="Oval 432"/>
            <p:cNvSpPr/>
            <p:nvPr/>
          </p:nvSpPr>
          <p:spPr>
            <a:xfrm>
              <a:off x="1602401" y="348291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4" name="Oval 433"/>
            <p:cNvSpPr/>
            <p:nvPr/>
          </p:nvSpPr>
          <p:spPr>
            <a:xfrm>
              <a:off x="1680556" y="348679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5" name="Oval 434"/>
            <p:cNvSpPr/>
            <p:nvPr/>
          </p:nvSpPr>
          <p:spPr>
            <a:xfrm>
              <a:off x="1740602" y="348679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6" name="Oval 435"/>
            <p:cNvSpPr/>
            <p:nvPr/>
          </p:nvSpPr>
          <p:spPr>
            <a:xfrm>
              <a:off x="1817988" y="3486790"/>
              <a:ext cx="120091" cy="110330"/>
            </a:xfrm>
            <a:prstGeom prst="ellipse">
              <a:avLst/>
            </a:prstGeom>
            <a:solidFill>
              <a:srgbClr val="FFFF00">
                <a:alpha val="51000"/>
              </a:srgbClr>
            </a:solidFill>
            <a:ln w="31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7" name="Rectangle 436"/>
            <p:cNvSpPr/>
            <p:nvPr/>
          </p:nvSpPr>
          <p:spPr>
            <a:xfrm>
              <a:off x="1205398" y="3567384"/>
              <a:ext cx="1358756" cy="620612"/>
            </a:xfrm>
            <a:prstGeom prst="rect">
              <a:avLst/>
            </a:prstGeom>
            <a:solidFill>
              <a:srgbClr val="FFC0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8" name="Isosceles Triangle 437"/>
            <p:cNvSpPr/>
            <p:nvPr/>
          </p:nvSpPr>
          <p:spPr>
            <a:xfrm>
              <a:off x="1205398" y="3981127"/>
              <a:ext cx="1358756" cy="206869"/>
            </a:xfrm>
            <a:prstGeom prst="triangle">
              <a:avLst>
                <a:gd name="adj" fmla="val 0"/>
              </a:avLst>
            </a:prstGeom>
            <a:solidFill>
              <a:srgbClr val="542A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9" name="Rectangle 438"/>
            <p:cNvSpPr/>
            <p:nvPr/>
          </p:nvSpPr>
          <p:spPr>
            <a:xfrm>
              <a:off x="1205867" y="3360515"/>
              <a:ext cx="1358756" cy="827481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40" name="Elbow Connector 439"/>
            <p:cNvCxnSpPr/>
            <p:nvPr/>
          </p:nvCxnSpPr>
          <p:spPr>
            <a:xfrm rot="16200000" flipH="1">
              <a:off x="1038176" y="3182093"/>
              <a:ext cx="137913" cy="494759"/>
            </a:xfrm>
            <a:prstGeom prst="bentConnector2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41" name="Elbow Connector 504"/>
            <p:cNvCxnSpPr/>
            <p:nvPr/>
          </p:nvCxnSpPr>
          <p:spPr>
            <a:xfrm flipH="1">
              <a:off x="2289063" y="3498435"/>
              <a:ext cx="662685" cy="0"/>
            </a:xfrm>
            <a:prstGeom prst="straightConnector1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42" name="Straight Connector 441"/>
            <p:cNvCxnSpPr/>
            <p:nvPr/>
          </p:nvCxnSpPr>
          <p:spPr>
            <a:xfrm>
              <a:off x="575498" y="3360515"/>
              <a:ext cx="2376250" cy="0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</p:grpSp>
      <p:grpSp>
        <p:nvGrpSpPr>
          <p:cNvPr id="443" name="Group 442"/>
          <p:cNvGrpSpPr/>
          <p:nvPr/>
        </p:nvGrpSpPr>
        <p:grpSpPr>
          <a:xfrm>
            <a:off x="3886200" y="1650951"/>
            <a:ext cx="2545754" cy="928418"/>
            <a:chOff x="375127" y="1038269"/>
            <a:chExt cx="2818135" cy="1090981"/>
          </a:xfrm>
        </p:grpSpPr>
        <p:sp>
          <p:nvSpPr>
            <p:cNvPr id="444" name="Rectangle 443"/>
            <p:cNvSpPr/>
            <p:nvPr/>
          </p:nvSpPr>
          <p:spPr>
            <a:xfrm>
              <a:off x="984831" y="1321694"/>
              <a:ext cx="1713246" cy="807556"/>
            </a:xfrm>
            <a:prstGeom prst="rect">
              <a:avLst/>
            </a:prstGeom>
            <a:solidFill>
              <a:srgbClr val="FFC0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5" name="Rectangle 444"/>
            <p:cNvSpPr/>
            <p:nvPr/>
          </p:nvSpPr>
          <p:spPr>
            <a:xfrm>
              <a:off x="984831" y="1049094"/>
              <a:ext cx="1713245" cy="1080156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46" name="Straight Connector 445"/>
            <p:cNvCxnSpPr/>
            <p:nvPr/>
          </p:nvCxnSpPr>
          <p:spPr>
            <a:xfrm flipV="1">
              <a:off x="375127" y="1038269"/>
              <a:ext cx="2814959" cy="10825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447" name="Elbow Connector 446"/>
            <p:cNvCxnSpPr/>
            <p:nvPr/>
          </p:nvCxnSpPr>
          <p:spPr>
            <a:xfrm rot="16200000" flipH="1">
              <a:off x="751472" y="1000224"/>
              <a:ext cx="563988" cy="640080"/>
            </a:xfrm>
            <a:prstGeom prst="bentConnector2">
              <a:avLst/>
            </a:prstGeom>
            <a:noFill/>
            <a:ln w="101600" cap="flat" cmpd="sng" algn="ctr">
              <a:gradFill flip="none" rotWithShape="1">
                <a:gsLst>
                  <a:gs pos="0">
                    <a:srgbClr val="F79646">
                      <a:lumMod val="50000"/>
                    </a:srgbClr>
                  </a:gs>
                  <a:gs pos="83000">
                    <a:srgbClr val="F79646">
                      <a:lumMod val="50000"/>
                    </a:srgbClr>
                  </a:gs>
                  <a:gs pos="100000">
                    <a:srgbClr val="FFC000">
                      <a:alpha val="0"/>
                    </a:srgbClr>
                  </a:gs>
                </a:gsLst>
                <a:lin ang="5400000" scaled="1"/>
                <a:tileRect/>
              </a:gradFill>
              <a:prstDash val="solid"/>
            </a:ln>
            <a:effectLst/>
          </p:spPr>
        </p:cxnSp>
        <p:cxnSp>
          <p:nvCxnSpPr>
            <p:cNvPr id="448" name="Elbow Connector 447"/>
            <p:cNvCxnSpPr/>
            <p:nvPr/>
          </p:nvCxnSpPr>
          <p:spPr>
            <a:xfrm rot="16200000" flipH="1">
              <a:off x="687988" y="1065530"/>
              <a:ext cx="563988" cy="512330"/>
            </a:xfrm>
            <a:prstGeom prst="bentConnector2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49" name="Straight Connector 448"/>
            <p:cNvCxnSpPr/>
            <p:nvPr/>
          </p:nvCxnSpPr>
          <p:spPr>
            <a:xfrm>
              <a:off x="2362096" y="1603689"/>
              <a:ext cx="831166" cy="0"/>
            </a:xfrm>
            <a:prstGeom prst="line">
              <a:avLst/>
            </a:prstGeom>
            <a:noFill/>
            <a:ln w="101600" cap="flat" cmpd="sng" algn="ctr">
              <a:gradFill flip="none" rotWithShape="1">
                <a:gsLst>
                  <a:gs pos="0">
                    <a:srgbClr val="FFC000">
                      <a:alpha val="0"/>
                    </a:srgbClr>
                  </a:gs>
                  <a:gs pos="19000">
                    <a:srgbClr val="F79646">
                      <a:lumMod val="50000"/>
                    </a:srgbClr>
                  </a:gs>
                  <a:gs pos="100000">
                    <a:srgbClr val="F79646">
                      <a:lumMod val="50000"/>
                    </a:srgbClr>
                  </a:gs>
                </a:gsLst>
                <a:lin ang="0" scaled="1"/>
                <a:tileRect/>
              </a:gradFill>
              <a:prstDash val="solid"/>
            </a:ln>
            <a:effectLst/>
          </p:spPr>
        </p:cxnSp>
        <p:cxnSp>
          <p:nvCxnSpPr>
            <p:cNvPr id="450" name="Elbow Connector 250"/>
            <p:cNvCxnSpPr/>
            <p:nvPr/>
          </p:nvCxnSpPr>
          <p:spPr>
            <a:xfrm flipH="1">
              <a:off x="2462127" y="1603689"/>
              <a:ext cx="727959" cy="0"/>
            </a:xfrm>
            <a:prstGeom prst="straightConnector1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51" name="Cloud 450"/>
            <p:cNvSpPr/>
            <p:nvPr/>
          </p:nvSpPr>
          <p:spPr>
            <a:xfrm>
              <a:off x="1033464" y="1382961"/>
              <a:ext cx="1557231" cy="449451"/>
            </a:xfrm>
            <a:prstGeom prst="cloud">
              <a:avLst/>
            </a:prstGeom>
            <a:solidFill>
              <a:srgbClr val="F79646">
                <a:lumMod val="50000"/>
                <a:alpha val="54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52" name="Straight Arrow Connector 451"/>
            <p:cNvCxnSpPr/>
            <p:nvPr/>
          </p:nvCxnSpPr>
          <p:spPr>
            <a:xfrm>
              <a:off x="1559246" y="1605390"/>
              <a:ext cx="640080" cy="0"/>
            </a:xfrm>
            <a:prstGeom prst="straightConnector1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headEnd type="none" w="med" len="med"/>
              <a:tailEnd type="triangle" w="lg" len="lg"/>
            </a:ln>
            <a:effectLst/>
          </p:spPr>
        </p:cxnSp>
      </p:grpSp>
      <p:grpSp>
        <p:nvGrpSpPr>
          <p:cNvPr id="453" name="Group 452"/>
          <p:cNvGrpSpPr/>
          <p:nvPr/>
        </p:nvGrpSpPr>
        <p:grpSpPr>
          <a:xfrm>
            <a:off x="6324600" y="1644575"/>
            <a:ext cx="2589884" cy="939770"/>
            <a:chOff x="364107" y="3118564"/>
            <a:chExt cx="2866987" cy="1104321"/>
          </a:xfrm>
        </p:grpSpPr>
        <p:sp>
          <p:nvSpPr>
            <p:cNvPr id="454" name="Rectangle 453"/>
            <p:cNvSpPr/>
            <p:nvPr/>
          </p:nvSpPr>
          <p:spPr>
            <a:xfrm>
              <a:off x="1022663" y="3401989"/>
              <a:ext cx="1713246" cy="807556"/>
            </a:xfrm>
            <a:prstGeom prst="rect">
              <a:avLst/>
            </a:prstGeom>
            <a:solidFill>
              <a:srgbClr val="FFC0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5" name="Isosceles Triangle 454"/>
            <p:cNvSpPr/>
            <p:nvPr/>
          </p:nvSpPr>
          <p:spPr>
            <a:xfrm>
              <a:off x="1026977" y="3889721"/>
              <a:ext cx="1708931" cy="319824"/>
            </a:xfrm>
            <a:prstGeom prst="triangle">
              <a:avLst>
                <a:gd name="adj" fmla="val 0"/>
              </a:avLst>
            </a:prstGeom>
            <a:solidFill>
              <a:srgbClr val="542A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456" name="Group 455"/>
            <p:cNvGrpSpPr/>
            <p:nvPr/>
          </p:nvGrpSpPr>
          <p:grpSpPr>
            <a:xfrm>
              <a:off x="1012547" y="3276142"/>
              <a:ext cx="1723362" cy="200560"/>
              <a:chOff x="2214471" y="6226491"/>
              <a:chExt cx="1475340" cy="143352"/>
            </a:xfrm>
          </p:grpSpPr>
          <p:sp>
            <p:nvSpPr>
              <p:cNvPr id="464" name="Oval 463"/>
              <p:cNvSpPr/>
              <p:nvPr/>
            </p:nvSpPr>
            <p:spPr>
              <a:xfrm>
                <a:off x="2214471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5" name="Oval 464"/>
              <p:cNvSpPr/>
              <p:nvPr/>
            </p:nvSpPr>
            <p:spPr>
              <a:xfrm>
                <a:off x="2281055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6" name="Oval 465"/>
              <p:cNvSpPr/>
              <p:nvPr/>
            </p:nvSpPr>
            <p:spPr>
              <a:xfrm>
                <a:off x="2347639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7" name="Oval 466"/>
              <p:cNvSpPr/>
              <p:nvPr/>
            </p:nvSpPr>
            <p:spPr>
              <a:xfrm>
                <a:off x="2414224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8" name="Oval 467"/>
              <p:cNvSpPr/>
              <p:nvPr/>
            </p:nvSpPr>
            <p:spPr>
              <a:xfrm>
                <a:off x="248987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9" name="Oval 468"/>
              <p:cNvSpPr/>
              <p:nvPr/>
            </p:nvSpPr>
            <p:spPr>
              <a:xfrm>
                <a:off x="2576544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0" name="Oval 469"/>
              <p:cNvSpPr/>
              <p:nvPr/>
            </p:nvSpPr>
            <p:spPr>
              <a:xfrm>
                <a:off x="2643128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1" name="Oval 470"/>
              <p:cNvSpPr/>
              <p:nvPr/>
            </p:nvSpPr>
            <p:spPr>
              <a:xfrm>
                <a:off x="2728943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2" name="Oval 471"/>
              <p:cNvSpPr/>
              <p:nvPr/>
            </p:nvSpPr>
            <p:spPr>
              <a:xfrm>
                <a:off x="2823186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3" name="Oval 472"/>
              <p:cNvSpPr/>
              <p:nvPr/>
            </p:nvSpPr>
            <p:spPr>
              <a:xfrm>
                <a:off x="2889770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4" name="Oval 473"/>
              <p:cNvSpPr/>
              <p:nvPr/>
            </p:nvSpPr>
            <p:spPr>
              <a:xfrm>
                <a:off x="2956354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5" name="Oval 474"/>
              <p:cNvSpPr/>
              <p:nvPr/>
            </p:nvSpPr>
            <p:spPr>
              <a:xfrm>
                <a:off x="3022939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6" name="Oval 475"/>
              <p:cNvSpPr/>
              <p:nvPr/>
            </p:nvSpPr>
            <p:spPr>
              <a:xfrm>
                <a:off x="3098593" y="6243637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7" name="Oval 476"/>
              <p:cNvSpPr/>
              <p:nvPr/>
            </p:nvSpPr>
            <p:spPr>
              <a:xfrm>
                <a:off x="3185259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8" name="Oval 477"/>
              <p:cNvSpPr/>
              <p:nvPr/>
            </p:nvSpPr>
            <p:spPr>
              <a:xfrm>
                <a:off x="3251843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9" name="Oval 478"/>
              <p:cNvSpPr/>
              <p:nvPr/>
            </p:nvSpPr>
            <p:spPr>
              <a:xfrm>
                <a:off x="3337658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0" name="Oval 479"/>
              <p:cNvSpPr/>
              <p:nvPr/>
            </p:nvSpPr>
            <p:spPr>
              <a:xfrm>
                <a:off x="3042170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1" name="Oval 480"/>
              <p:cNvSpPr/>
              <p:nvPr/>
            </p:nvSpPr>
            <p:spPr>
              <a:xfrm>
                <a:off x="3108754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2" name="Oval 481"/>
              <p:cNvSpPr/>
              <p:nvPr/>
            </p:nvSpPr>
            <p:spPr>
              <a:xfrm>
                <a:off x="317533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3" name="Oval 482"/>
              <p:cNvSpPr/>
              <p:nvPr/>
            </p:nvSpPr>
            <p:spPr>
              <a:xfrm>
                <a:off x="3241923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4" name="Oval 483"/>
              <p:cNvSpPr/>
              <p:nvPr/>
            </p:nvSpPr>
            <p:spPr>
              <a:xfrm>
                <a:off x="3317577" y="6242684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5" name="Oval 484"/>
              <p:cNvSpPr/>
              <p:nvPr/>
            </p:nvSpPr>
            <p:spPr>
              <a:xfrm>
                <a:off x="3404243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6" name="Oval 485"/>
              <p:cNvSpPr/>
              <p:nvPr/>
            </p:nvSpPr>
            <p:spPr>
              <a:xfrm>
                <a:off x="3470827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7" name="Oval 486"/>
              <p:cNvSpPr/>
              <p:nvPr/>
            </p:nvSpPr>
            <p:spPr>
              <a:xfrm>
                <a:off x="3556642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8" name="Oval 487"/>
              <p:cNvSpPr/>
              <p:nvPr/>
            </p:nvSpPr>
            <p:spPr>
              <a:xfrm>
                <a:off x="2362019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9" name="Oval 488"/>
              <p:cNvSpPr/>
              <p:nvPr/>
            </p:nvSpPr>
            <p:spPr>
              <a:xfrm>
                <a:off x="2428603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0" name="Oval 489"/>
              <p:cNvSpPr/>
              <p:nvPr/>
            </p:nvSpPr>
            <p:spPr>
              <a:xfrm>
                <a:off x="2495187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1" name="Oval 490"/>
              <p:cNvSpPr/>
              <p:nvPr/>
            </p:nvSpPr>
            <p:spPr>
              <a:xfrm>
                <a:off x="2561772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2" name="Oval 491"/>
              <p:cNvSpPr/>
              <p:nvPr/>
            </p:nvSpPr>
            <p:spPr>
              <a:xfrm>
                <a:off x="2637426" y="623125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3" name="Oval 492"/>
              <p:cNvSpPr/>
              <p:nvPr/>
            </p:nvSpPr>
            <p:spPr>
              <a:xfrm>
                <a:off x="2724092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4" name="Oval 493"/>
              <p:cNvSpPr/>
              <p:nvPr/>
            </p:nvSpPr>
            <p:spPr>
              <a:xfrm>
                <a:off x="2790676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5" name="Oval 494"/>
              <p:cNvSpPr/>
              <p:nvPr/>
            </p:nvSpPr>
            <p:spPr>
              <a:xfrm>
                <a:off x="2876491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457" name="Rectangle 456"/>
            <p:cNvSpPr/>
            <p:nvPr/>
          </p:nvSpPr>
          <p:spPr>
            <a:xfrm>
              <a:off x="1022663" y="3129389"/>
              <a:ext cx="1713245" cy="1080156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58" name="Straight Connector 457"/>
            <p:cNvCxnSpPr/>
            <p:nvPr/>
          </p:nvCxnSpPr>
          <p:spPr>
            <a:xfrm flipV="1">
              <a:off x="412959" y="3118564"/>
              <a:ext cx="2814959" cy="10825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cxnSp>
          <p:nvCxnSpPr>
            <p:cNvPr id="459" name="Elbow Connector 458"/>
            <p:cNvCxnSpPr/>
            <p:nvPr/>
          </p:nvCxnSpPr>
          <p:spPr>
            <a:xfrm rot="16200000" flipH="1">
              <a:off x="865558" y="3010008"/>
              <a:ext cx="411480" cy="640080"/>
            </a:xfrm>
            <a:prstGeom prst="bentConnector2">
              <a:avLst/>
            </a:prstGeom>
            <a:noFill/>
            <a:ln w="101600" cap="flat" cmpd="sng" algn="ctr">
              <a:gradFill flip="none" rotWithShape="1">
                <a:gsLst>
                  <a:gs pos="0">
                    <a:srgbClr val="F79646">
                      <a:lumMod val="50000"/>
                    </a:srgbClr>
                  </a:gs>
                  <a:gs pos="83000">
                    <a:srgbClr val="F79646">
                      <a:lumMod val="50000"/>
                    </a:srgbClr>
                  </a:gs>
                  <a:gs pos="100000">
                    <a:srgbClr val="FFC000">
                      <a:alpha val="0"/>
                    </a:srgbClr>
                  </a:gs>
                </a:gsLst>
                <a:lin ang="5400000" scaled="1"/>
                <a:tileRect/>
              </a:gradFill>
              <a:prstDash val="solid"/>
            </a:ln>
            <a:effectLst/>
          </p:spPr>
        </p:cxnSp>
        <p:cxnSp>
          <p:nvCxnSpPr>
            <p:cNvPr id="460" name="Elbow Connector 459"/>
            <p:cNvCxnSpPr/>
            <p:nvPr/>
          </p:nvCxnSpPr>
          <p:spPr>
            <a:xfrm rot="16200000" flipH="1">
              <a:off x="802074" y="3075314"/>
              <a:ext cx="411480" cy="512330"/>
            </a:xfrm>
            <a:prstGeom prst="bentConnector2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461" name="Straight Connector 460"/>
            <p:cNvCxnSpPr/>
            <p:nvPr/>
          </p:nvCxnSpPr>
          <p:spPr>
            <a:xfrm>
              <a:off x="2399928" y="3886200"/>
              <a:ext cx="831166" cy="0"/>
            </a:xfrm>
            <a:prstGeom prst="line">
              <a:avLst/>
            </a:prstGeom>
            <a:noFill/>
            <a:ln w="101600" cap="flat" cmpd="sng" algn="ctr">
              <a:solidFill>
                <a:srgbClr val="FFC000"/>
              </a:solidFill>
              <a:prstDash val="solid"/>
            </a:ln>
            <a:effectLst/>
          </p:spPr>
        </p:cxnSp>
        <p:cxnSp>
          <p:nvCxnSpPr>
            <p:cNvPr id="462" name="Elbow Connector 250"/>
            <p:cNvCxnSpPr/>
            <p:nvPr/>
          </p:nvCxnSpPr>
          <p:spPr>
            <a:xfrm flipH="1">
              <a:off x="2499959" y="3886200"/>
              <a:ext cx="727959" cy="0"/>
            </a:xfrm>
            <a:prstGeom prst="straightConnector1">
              <a:avLst/>
            </a:prstGeom>
            <a:noFill/>
            <a:ln w="161925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63" name="L-Shape 462"/>
            <p:cNvSpPr>
              <a:spLocks noChangeAspect="1"/>
            </p:cNvSpPr>
            <p:nvPr/>
          </p:nvSpPr>
          <p:spPr>
            <a:xfrm rot="19279317">
              <a:off x="364107" y="3730858"/>
              <a:ext cx="954901" cy="492027"/>
            </a:xfrm>
            <a:prstGeom prst="corner">
              <a:avLst>
                <a:gd name="adj1" fmla="val 23479"/>
                <a:gd name="adj2" fmla="val 2780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96" name="Multiply 495"/>
          <p:cNvSpPr/>
          <p:nvPr/>
        </p:nvSpPr>
        <p:spPr>
          <a:xfrm>
            <a:off x="3657600" y="1969769"/>
            <a:ext cx="1061727" cy="1018172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7" name="L-Shape 496"/>
          <p:cNvSpPr>
            <a:spLocks noChangeAspect="1"/>
          </p:cNvSpPr>
          <p:nvPr/>
        </p:nvSpPr>
        <p:spPr>
          <a:xfrm rot="19279317">
            <a:off x="672382" y="2371300"/>
            <a:ext cx="862607" cy="444471"/>
          </a:xfrm>
          <a:prstGeom prst="corner">
            <a:avLst>
              <a:gd name="adj1" fmla="val 23479"/>
              <a:gd name="adj2" fmla="val 27803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8" name="Multiply 497"/>
          <p:cNvSpPr/>
          <p:nvPr/>
        </p:nvSpPr>
        <p:spPr>
          <a:xfrm>
            <a:off x="383509" y="4117583"/>
            <a:ext cx="1001604" cy="909898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9" name="Multiply 498"/>
          <p:cNvSpPr/>
          <p:nvPr/>
        </p:nvSpPr>
        <p:spPr>
          <a:xfrm>
            <a:off x="238571" y="5859601"/>
            <a:ext cx="1001604" cy="909898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0" name="Rectangle 499"/>
          <p:cNvSpPr/>
          <p:nvPr/>
        </p:nvSpPr>
        <p:spPr>
          <a:xfrm>
            <a:off x="3733800" y="2987941"/>
            <a:ext cx="5285407" cy="3718977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lIns="0" rIns="0"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mr-IN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ंतर्गम </a:t>
            </a: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आणि </a:t>
            </a:r>
            <a:r>
              <a:rPr lang="mr-IN" b="1" dirty="0" smtClean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िर्गम</a:t>
            </a:r>
            <a:r>
              <a:rPr lang="mr-IN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ाईप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सरळ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ठेवू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नका</a:t>
            </a:r>
            <a:endParaRPr kumimoji="0" lang="en-US" sz="19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501" name="Group 500"/>
          <p:cNvGrpSpPr/>
          <p:nvPr/>
        </p:nvGrpSpPr>
        <p:grpSpPr>
          <a:xfrm>
            <a:off x="4079154" y="3389244"/>
            <a:ext cx="4607646" cy="1323725"/>
            <a:chOff x="4079154" y="3324475"/>
            <a:chExt cx="4607646" cy="1323725"/>
          </a:xfrm>
        </p:grpSpPr>
        <p:sp>
          <p:nvSpPr>
            <p:cNvPr id="502" name="Rectangle 501"/>
            <p:cNvSpPr/>
            <p:nvPr/>
          </p:nvSpPr>
          <p:spPr>
            <a:xfrm>
              <a:off x="4183575" y="3584281"/>
              <a:ext cx="1723257" cy="413430"/>
            </a:xfrm>
            <a:prstGeom prst="rect">
              <a:avLst/>
            </a:prstGeom>
            <a:pattFill prst="ltDnDiag">
              <a:fgClr>
                <a:sysClr val="windowText" lastClr="000000"/>
              </a:fgClr>
              <a:bgClr>
                <a:sysClr val="window" lastClr="FFFFFF"/>
              </a:bgClr>
            </a:pattFill>
            <a:ln w="254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503" name="Straight Connector 502"/>
            <p:cNvCxnSpPr/>
            <p:nvPr/>
          </p:nvCxnSpPr>
          <p:spPr>
            <a:xfrm>
              <a:off x="4079154" y="3997710"/>
              <a:ext cx="4607646" cy="0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>
                  <a:lumMod val="65000"/>
                  <a:lumOff val="35000"/>
                </a:sysClr>
              </a:solidFill>
              <a:prstDash val="solid"/>
            </a:ln>
            <a:effectLst/>
          </p:spPr>
        </p:cxnSp>
        <p:sp>
          <p:nvSpPr>
            <p:cNvPr id="504" name="Rectangle 503"/>
            <p:cNvSpPr/>
            <p:nvPr/>
          </p:nvSpPr>
          <p:spPr>
            <a:xfrm>
              <a:off x="6469012" y="4143824"/>
              <a:ext cx="1688955" cy="504376"/>
            </a:xfrm>
            <a:prstGeom prst="rect">
              <a:avLst/>
            </a:prstGeom>
            <a:solidFill>
              <a:srgbClr val="FFC0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505" name="Elbow Connector 646"/>
            <p:cNvCxnSpPr/>
            <p:nvPr/>
          </p:nvCxnSpPr>
          <p:spPr>
            <a:xfrm flipH="1">
              <a:off x="7864732" y="4306153"/>
              <a:ext cx="719736" cy="629"/>
            </a:xfrm>
            <a:prstGeom prst="straightConnector1">
              <a:avLst/>
            </a:prstGeom>
            <a:noFill/>
            <a:ln w="161925" cap="flat" cmpd="dbl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sp>
          <p:nvSpPr>
            <p:cNvPr id="506" name="Bent Arrow 505"/>
            <p:cNvSpPr/>
            <p:nvPr/>
          </p:nvSpPr>
          <p:spPr>
            <a:xfrm flipV="1">
              <a:off x="5373881" y="4082967"/>
              <a:ext cx="1267522" cy="309381"/>
            </a:xfrm>
            <a:prstGeom prst="bentArrow">
              <a:avLst>
                <a:gd name="adj1" fmla="val 48655"/>
                <a:gd name="adj2" fmla="val 35872"/>
                <a:gd name="adj3" fmla="val 4012"/>
                <a:gd name="adj4" fmla="val 43750"/>
              </a:avLst>
            </a:prstGeom>
            <a:solidFill>
              <a:srgbClr val="FFC000"/>
            </a:solidFill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07" name="Group 506"/>
            <p:cNvGrpSpPr/>
            <p:nvPr/>
          </p:nvGrpSpPr>
          <p:grpSpPr>
            <a:xfrm>
              <a:off x="5262974" y="3324475"/>
              <a:ext cx="375826" cy="163773"/>
              <a:chOff x="8312275" y="2957201"/>
              <a:chExt cx="405526" cy="150595"/>
            </a:xfrm>
          </p:grpSpPr>
          <p:sp>
            <p:nvSpPr>
              <p:cNvPr id="548" name="Freeform 547"/>
              <p:cNvSpPr/>
              <p:nvPr/>
            </p:nvSpPr>
            <p:spPr>
              <a:xfrm>
                <a:off x="8312275" y="2959224"/>
                <a:ext cx="56183" cy="148102"/>
              </a:xfrm>
              <a:custGeom>
                <a:avLst/>
                <a:gdLst>
                  <a:gd name="connsiteX0" fmla="*/ 2117 w 65617"/>
                  <a:gd name="connsiteY0" fmla="*/ 0 h 457200"/>
                  <a:gd name="connsiteX1" fmla="*/ 52917 w 65617"/>
                  <a:gd name="connsiteY1" fmla="*/ 127000 h 457200"/>
                  <a:gd name="connsiteX2" fmla="*/ 2117 w 65617"/>
                  <a:gd name="connsiteY2" fmla="*/ 241300 h 457200"/>
                  <a:gd name="connsiteX3" fmla="*/ 40217 w 65617"/>
                  <a:gd name="connsiteY3" fmla="*/ 406400 h 457200"/>
                  <a:gd name="connsiteX4" fmla="*/ 65617 w 65617"/>
                  <a:gd name="connsiteY4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17" h="457200">
                    <a:moveTo>
                      <a:pt x="2117" y="0"/>
                    </a:moveTo>
                    <a:cubicBezTo>
                      <a:pt x="27517" y="43391"/>
                      <a:pt x="52917" y="86783"/>
                      <a:pt x="52917" y="127000"/>
                    </a:cubicBezTo>
                    <a:cubicBezTo>
                      <a:pt x="52917" y="167217"/>
                      <a:pt x="4234" y="194733"/>
                      <a:pt x="2117" y="241300"/>
                    </a:cubicBezTo>
                    <a:cubicBezTo>
                      <a:pt x="0" y="287867"/>
                      <a:pt x="29634" y="370417"/>
                      <a:pt x="40217" y="406400"/>
                    </a:cubicBezTo>
                    <a:cubicBezTo>
                      <a:pt x="50800" y="442383"/>
                      <a:pt x="58208" y="449791"/>
                      <a:pt x="65617" y="457200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79646">
                    <a:lumMod val="75000"/>
                  </a:srgbClr>
                </a:solidFill>
                <a:prstDash val="solid"/>
              </a:ln>
              <a:effectLst>
                <a:glow rad="63500">
                  <a:srgbClr val="F79646">
                    <a:satMod val="175000"/>
                    <a:alpha val="40000"/>
                  </a:srgb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9" name="Freeform 548"/>
              <p:cNvSpPr/>
              <p:nvPr/>
            </p:nvSpPr>
            <p:spPr>
              <a:xfrm>
                <a:off x="8436444" y="2957201"/>
                <a:ext cx="56183" cy="148103"/>
              </a:xfrm>
              <a:custGeom>
                <a:avLst/>
                <a:gdLst>
                  <a:gd name="connsiteX0" fmla="*/ 2117 w 65617"/>
                  <a:gd name="connsiteY0" fmla="*/ 0 h 457200"/>
                  <a:gd name="connsiteX1" fmla="*/ 52917 w 65617"/>
                  <a:gd name="connsiteY1" fmla="*/ 127000 h 457200"/>
                  <a:gd name="connsiteX2" fmla="*/ 2117 w 65617"/>
                  <a:gd name="connsiteY2" fmla="*/ 241300 h 457200"/>
                  <a:gd name="connsiteX3" fmla="*/ 40217 w 65617"/>
                  <a:gd name="connsiteY3" fmla="*/ 406400 h 457200"/>
                  <a:gd name="connsiteX4" fmla="*/ 65617 w 65617"/>
                  <a:gd name="connsiteY4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17" h="457200">
                    <a:moveTo>
                      <a:pt x="2117" y="0"/>
                    </a:moveTo>
                    <a:cubicBezTo>
                      <a:pt x="27517" y="43391"/>
                      <a:pt x="52917" y="86783"/>
                      <a:pt x="52917" y="127000"/>
                    </a:cubicBezTo>
                    <a:cubicBezTo>
                      <a:pt x="52917" y="167217"/>
                      <a:pt x="4234" y="194733"/>
                      <a:pt x="2117" y="241300"/>
                    </a:cubicBezTo>
                    <a:cubicBezTo>
                      <a:pt x="0" y="287867"/>
                      <a:pt x="29634" y="370417"/>
                      <a:pt x="40217" y="406400"/>
                    </a:cubicBezTo>
                    <a:cubicBezTo>
                      <a:pt x="50800" y="442383"/>
                      <a:pt x="58208" y="449791"/>
                      <a:pt x="65617" y="457200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79646">
                    <a:lumMod val="75000"/>
                  </a:srgbClr>
                </a:solidFill>
                <a:prstDash val="solid"/>
              </a:ln>
              <a:effectLst>
                <a:glow rad="63500">
                  <a:srgbClr val="F79646">
                    <a:satMod val="175000"/>
                    <a:alpha val="40000"/>
                  </a:srgb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0" name="Freeform 549"/>
              <p:cNvSpPr/>
              <p:nvPr/>
            </p:nvSpPr>
            <p:spPr>
              <a:xfrm>
                <a:off x="8549799" y="2957201"/>
                <a:ext cx="56183" cy="148103"/>
              </a:xfrm>
              <a:custGeom>
                <a:avLst/>
                <a:gdLst>
                  <a:gd name="connsiteX0" fmla="*/ 2117 w 65617"/>
                  <a:gd name="connsiteY0" fmla="*/ 0 h 457200"/>
                  <a:gd name="connsiteX1" fmla="*/ 52917 w 65617"/>
                  <a:gd name="connsiteY1" fmla="*/ 127000 h 457200"/>
                  <a:gd name="connsiteX2" fmla="*/ 2117 w 65617"/>
                  <a:gd name="connsiteY2" fmla="*/ 241300 h 457200"/>
                  <a:gd name="connsiteX3" fmla="*/ 40217 w 65617"/>
                  <a:gd name="connsiteY3" fmla="*/ 406400 h 457200"/>
                  <a:gd name="connsiteX4" fmla="*/ 65617 w 65617"/>
                  <a:gd name="connsiteY4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17" h="457200">
                    <a:moveTo>
                      <a:pt x="2117" y="0"/>
                    </a:moveTo>
                    <a:cubicBezTo>
                      <a:pt x="27517" y="43391"/>
                      <a:pt x="52917" y="86783"/>
                      <a:pt x="52917" y="127000"/>
                    </a:cubicBezTo>
                    <a:cubicBezTo>
                      <a:pt x="52917" y="167217"/>
                      <a:pt x="4234" y="194733"/>
                      <a:pt x="2117" y="241300"/>
                    </a:cubicBezTo>
                    <a:cubicBezTo>
                      <a:pt x="0" y="287867"/>
                      <a:pt x="29634" y="370417"/>
                      <a:pt x="40217" y="406400"/>
                    </a:cubicBezTo>
                    <a:cubicBezTo>
                      <a:pt x="50800" y="442383"/>
                      <a:pt x="58208" y="449791"/>
                      <a:pt x="65617" y="457200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79646">
                    <a:lumMod val="75000"/>
                  </a:srgbClr>
                </a:solidFill>
                <a:prstDash val="solid"/>
              </a:ln>
              <a:effectLst>
                <a:glow rad="63500">
                  <a:srgbClr val="F79646">
                    <a:satMod val="175000"/>
                    <a:alpha val="40000"/>
                  </a:srgb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1" name="Freeform 550"/>
              <p:cNvSpPr/>
              <p:nvPr/>
            </p:nvSpPr>
            <p:spPr>
              <a:xfrm>
                <a:off x="8661618" y="2959693"/>
                <a:ext cx="56183" cy="148103"/>
              </a:xfrm>
              <a:custGeom>
                <a:avLst/>
                <a:gdLst>
                  <a:gd name="connsiteX0" fmla="*/ 2117 w 65617"/>
                  <a:gd name="connsiteY0" fmla="*/ 0 h 457200"/>
                  <a:gd name="connsiteX1" fmla="*/ 52917 w 65617"/>
                  <a:gd name="connsiteY1" fmla="*/ 127000 h 457200"/>
                  <a:gd name="connsiteX2" fmla="*/ 2117 w 65617"/>
                  <a:gd name="connsiteY2" fmla="*/ 241300 h 457200"/>
                  <a:gd name="connsiteX3" fmla="*/ 40217 w 65617"/>
                  <a:gd name="connsiteY3" fmla="*/ 406400 h 457200"/>
                  <a:gd name="connsiteX4" fmla="*/ 65617 w 65617"/>
                  <a:gd name="connsiteY4" fmla="*/ 4572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617" h="457200">
                    <a:moveTo>
                      <a:pt x="2117" y="0"/>
                    </a:moveTo>
                    <a:cubicBezTo>
                      <a:pt x="27517" y="43391"/>
                      <a:pt x="52917" y="86783"/>
                      <a:pt x="52917" y="127000"/>
                    </a:cubicBezTo>
                    <a:cubicBezTo>
                      <a:pt x="52917" y="167217"/>
                      <a:pt x="4234" y="194733"/>
                      <a:pt x="2117" y="241300"/>
                    </a:cubicBezTo>
                    <a:cubicBezTo>
                      <a:pt x="0" y="287867"/>
                      <a:pt x="29634" y="370417"/>
                      <a:pt x="40217" y="406400"/>
                    </a:cubicBezTo>
                    <a:cubicBezTo>
                      <a:pt x="50800" y="442383"/>
                      <a:pt x="58208" y="449791"/>
                      <a:pt x="65617" y="457200"/>
                    </a:cubicBezTo>
                  </a:path>
                </a:pathLst>
              </a:custGeom>
              <a:noFill/>
              <a:ln w="38100" cap="flat" cmpd="sng" algn="ctr">
                <a:solidFill>
                  <a:srgbClr val="F79646">
                    <a:lumMod val="75000"/>
                  </a:srgbClr>
                </a:solidFill>
                <a:prstDash val="solid"/>
              </a:ln>
              <a:effectLst>
                <a:glow rad="63500">
                  <a:srgbClr val="F79646">
                    <a:satMod val="175000"/>
                    <a:alpha val="40000"/>
                  </a:srgbClr>
                </a:glow>
              </a:effectLst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08" name="Freeform 507"/>
            <p:cNvSpPr/>
            <p:nvPr/>
          </p:nvSpPr>
          <p:spPr>
            <a:xfrm>
              <a:off x="4441074" y="3561383"/>
              <a:ext cx="1263641" cy="582439"/>
            </a:xfrm>
            <a:custGeom>
              <a:avLst/>
              <a:gdLst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185737 w 942975"/>
                <a:gd name="connsiteY11" fmla="*/ 109538 h 395288"/>
                <a:gd name="connsiteX12" fmla="*/ 42862 w 942975"/>
                <a:gd name="connsiteY12" fmla="*/ 90488 h 395288"/>
                <a:gd name="connsiteX13" fmla="*/ 0 w 942975"/>
                <a:gd name="connsiteY13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185737 w 942975"/>
                <a:gd name="connsiteY11" fmla="*/ 109538 h 395288"/>
                <a:gd name="connsiteX12" fmla="*/ 0 w 942975"/>
                <a:gd name="connsiteY12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185737 w 942975"/>
                <a:gd name="connsiteY11" fmla="*/ 109538 h 395288"/>
                <a:gd name="connsiteX12" fmla="*/ 0 w 942975"/>
                <a:gd name="connsiteY12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342900 w 942975"/>
                <a:gd name="connsiteY9" fmla="*/ 142875 h 395288"/>
                <a:gd name="connsiteX10" fmla="*/ 0 w 942975"/>
                <a:gd name="connsiteY10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814387 w 942975"/>
                <a:gd name="connsiteY2" fmla="*/ 200025 h 395288"/>
                <a:gd name="connsiteX3" fmla="*/ 781050 w 942975"/>
                <a:gd name="connsiteY3" fmla="*/ 257175 h 395288"/>
                <a:gd name="connsiteX4" fmla="*/ 809625 w 942975"/>
                <a:gd name="connsiteY4" fmla="*/ 395288 h 395288"/>
                <a:gd name="connsiteX5" fmla="*/ 700087 w 942975"/>
                <a:gd name="connsiteY5" fmla="*/ 395288 h 395288"/>
                <a:gd name="connsiteX6" fmla="*/ 700087 w 942975"/>
                <a:gd name="connsiteY6" fmla="*/ 257175 h 395288"/>
                <a:gd name="connsiteX7" fmla="*/ 600075 w 942975"/>
                <a:gd name="connsiteY7" fmla="*/ 242888 h 395288"/>
                <a:gd name="connsiteX8" fmla="*/ 342900 w 942975"/>
                <a:gd name="connsiteY8" fmla="*/ 142875 h 395288"/>
                <a:gd name="connsiteX9" fmla="*/ 0 w 942975"/>
                <a:gd name="connsiteY9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814387 w 942975"/>
                <a:gd name="connsiteY2" fmla="*/ 200025 h 395288"/>
                <a:gd name="connsiteX3" fmla="*/ 781050 w 942975"/>
                <a:gd name="connsiteY3" fmla="*/ 257175 h 395288"/>
                <a:gd name="connsiteX4" fmla="*/ 809625 w 942975"/>
                <a:gd name="connsiteY4" fmla="*/ 395288 h 395288"/>
                <a:gd name="connsiteX5" fmla="*/ 700087 w 942975"/>
                <a:gd name="connsiteY5" fmla="*/ 395288 h 395288"/>
                <a:gd name="connsiteX6" fmla="*/ 700087 w 942975"/>
                <a:gd name="connsiteY6" fmla="*/ 257175 h 395288"/>
                <a:gd name="connsiteX7" fmla="*/ 600075 w 942975"/>
                <a:gd name="connsiteY7" fmla="*/ 242888 h 395288"/>
                <a:gd name="connsiteX8" fmla="*/ 342900 w 942975"/>
                <a:gd name="connsiteY8" fmla="*/ 142875 h 395288"/>
                <a:gd name="connsiteX9" fmla="*/ 0 w 942975"/>
                <a:gd name="connsiteY9" fmla="*/ 0 h 395288"/>
                <a:gd name="connsiteX0" fmla="*/ 0 w 978298"/>
                <a:gd name="connsiteY0" fmla="*/ 0 h 395288"/>
                <a:gd name="connsiteX1" fmla="*/ 942975 w 978298"/>
                <a:gd name="connsiteY1" fmla="*/ 0 h 395288"/>
                <a:gd name="connsiteX2" fmla="*/ 781050 w 978298"/>
                <a:gd name="connsiteY2" fmla="*/ 257175 h 395288"/>
                <a:gd name="connsiteX3" fmla="*/ 809625 w 978298"/>
                <a:gd name="connsiteY3" fmla="*/ 395288 h 395288"/>
                <a:gd name="connsiteX4" fmla="*/ 700087 w 978298"/>
                <a:gd name="connsiteY4" fmla="*/ 395288 h 395288"/>
                <a:gd name="connsiteX5" fmla="*/ 700087 w 978298"/>
                <a:gd name="connsiteY5" fmla="*/ 257175 h 395288"/>
                <a:gd name="connsiteX6" fmla="*/ 600075 w 978298"/>
                <a:gd name="connsiteY6" fmla="*/ 242888 h 395288"/>
                <a:gd name="connsiteX7" fmla="*/ 342900 w 978298"/>
                <a:gd name="connsiteY7" fmla="*/ 142875 h 395288"/>
                <a:gd name="connsiteX8" fmla="*/ 0 w 978298"/>
                <a:gd name="connsiteY8" fmla="*/ 0 h 395288"/>
                <a:gd name="connsiteX0" fmla="*/ 0 w 983635"/>
                <a:gd name="connsiteY0" fmla="*/ 0 h 395288"/>
                <a:gd name="connsiteX1" fmla="*/ 942975 w 983635"/>
                <a:gd name="connsiteY1" fmla="*/ 0 h 395288"/>
                <a:gd name="connsiteX2" fmla="*/ 781050 w 983635"/>
                <a:gd name="connsiteY2" fmla="*/ 257175 h 395288"/>
                <a:gd name="connsiteX3" fmla="*/ 809625 w 983635"/>
                <a:gd name="connsiteY3" fmla="*/ 395288 h 395288"/>
                <a:gd name="connsiteX4" fmla="*/ 700087 w 983635"/>
                <a:gd name="connsiteY4" fmla="*/ 395288 h 395288"/>
                <a:gd name="connsiteX5" fmla="*/ 700087 w 983635"/>
                <a:gd name="connsiteY5" fmla="*/ 257175 h 395288"/>
                <a:gd name="connsiteX6" fmla="*/ 600075 w 983635"/>
                <a:gd name="connsiteY6" fmla="*/ 242888 h 395288"/>
                <a:gd name="connsiteX7" fmla="*/ 342900 w 983635"/>
                <a:gd name="connsiteY7" fmla="*/ 142875 h 395288"/>
                <a:gd name="connsiteX8" fmla="*/ 0 w 983635"/>
                <a:gd name="connsiteY8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600075 w 943838"/>
                <a:gd name="connsiteY6" fmla="*/ 242888 h 395288"/>
                <a:gd name="connsiteX7" fmla="*/ 342900 w 943838"/>
                <a:gd name="connsiteY7" fmla="*/ 142875 h 395288"/>
                <a:gd name="connsiteX8" fmla="*/ 0 w 943838"/>
                <a:gd name="connsiteY8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342900 w 943838"/>
                <a:gd name="connsiteY6" fmla="*/ 142875 h 395288"/>
                <a:gd name="connsiteX7" fmla="*/ 0 w 943838"/>
                <a:gd name="connsiteY7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342900 w 943838"/>
                <a:gd name="connsiteY6" fmla="*/ 142875 h 395288"/>
                <a:gd name="connsiteX7" fmla="*/ 0 w 943838"/>
                <a:gd name="connsiteY7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342900 w 943838"/>
                <a:gd name="connsiteY6" fmla="*/ 142875 h 395288"/>
                <a:gd name="connsiteX7" fmla="*/ 0 w 943838"/>
                <a:gd name="connsiteY7" fmla="*/ 0 h 395288"/>
                <a:gd name="connsiteX0" fmla="*/ 0 w 944114"/>
                <a:gd name="connsiteY0" fmla="*/ 0 h 395288"/>
                <a:gd name="connsiteX1" fmla="*/ 942975 w 944114"/>
                <a:gd name="connsiteY1" fmla="*/ 0 h 395288"/>
                <a:gd name="connsiteX2" fmla="*/ 807480 w 944114"/>
                <a:gd name="connsiteY2" fmla="*/ 254472 h 395288"/>
                <a:gd name="connsiteX3" fmla="*/ 809625 w 944114"/>
                <a:gd name="connsiteY3" fmla="*/ 395288 h 395288"/>
                <a:gd name="connsiteX4" fmla="*/ 700087 w 944114"/>
                <a:gd name="connsiteY4" fmla="*/ 395288 h 395288"/>
                <a:gd name="connsiteX5" fmla="*/ 700087 w 944114"/>
                <a:gd name="connsiteY5" fmla="*/ 257175 h 395288"/>
                <a:gd name="connsiteX6" fmla="*/ 342900 w 944114"/>
                <a:gd name="connsiteY6" fmla="*/ 142875 h 395288"/>
                <a:gd name="connsiteX7" fmla="*/ 0 w 944114"/>
                <a:gd name="connsiteY7" fmla="*/ 0 h 395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4114" h="395288">
                  <a:moveTo>
                    <a:pt x="0" y="0"/>
                  </a:moveTo>
                  <a:lnTo>
                    <a:pt x="942975" y="0"/>
                  </a:lnTo>
                  <a:cubicBezTo>
                    <a:pt x="954088" y="138112"/>
                    <a:pt x="882092" y="188591"/>
                    <a:pt x="807480" y="254472"/>
                  </a:cubicBezTo>
                  <a:lnTo>
                    <a:pt x="809625" y="395288"/>
                  </a:lnTo>
                  <a:lnTo>
                    <a:pt x="700087" y="395288"/>
                  </a:lnTo>
                  <a:lnTo>
                    <a:pt x="700087" y="257175"/>
                  </a:lnTo>
                  <a:cubicBezTo>
                    <a:pt x="514350" y="233363"/>
                    <a:pt x="476249" y="195262"/>
                    <a:pt x="342900" y="142875"/>
                  </a:cubicBezTo>
                  <a:cubicBezTo>
                    <a:pt x="214313" y="123826"/>
                    <a:pt x="47625" y="128588"/>
                    <a:pt x="0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9" name="Freeform 508"/>
            <p:cNvSpPr/>
            <p:nvPr/>
          </p:nvSpPr>
          <p:spPr>
            <a:xfrm>
              <a:off x="4500496" y="3638116"/>
              <a:ext cx="1196237" cy="521153"/>
            </a:xfrm>
            <a:custGeom>
              <a:avLst/>
              <a:gdLst>
                <a:gd name="connsiteX0" fmla="*/ 0 w 349250"/>
                <a:gd name="connsiteY0" fmla="*/ 0 h 292100"/>
                <a:gd name="connsiteX1" fmla="*/ 349250 w 349250"/>
                <a:gd name="connsiteY1" fmla="*/ 6350 h 292100"/>
                <a:gd name="connsiteX2" fmla="*/ 323850 w 349250"/>
                <a:gd name="connsiteY2" fmla="*/ 50800 h 292100"/>
                <a:gd name="connsiteX3" fmla="*/ 222250 w 349250"/>
                <a:gd name="connsiteY3" fmla="*/ 120650 h 292100"/>
                <a:gd name="connsiteX4" fmla="*/ 241300 w 349250"/>
                <a:gd name="connsiteY4" fmla="*/ 292100 h 292100"/>
                <a:gd name="connsiteX5" fmla="*/ 152400 w 349250"/>
                <a:gd name="connsiteY5" fmla="*/ 285750 h 292100"/>
                <a:gd name="connsiteX6" fmla="*/ 152400 w 349250"/>
                <a:gd name="connsiteY6" fmla="*/ 120650 h 292100"/>
                <a:gd name="connsiteX7" fmla="*/ 63500 w 349250"/>
                <a:gd name="connsiteY7" fmla="*/ 63500 h 292100"/>
                <a:gd name="connsiteX8" fmla="*/ 0 w 349250"/>
                <a:gd name="connsiteY8" fmla="*/ 0 h 292100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24096 w 349250"/>
                <a:gd name="connsiteY4" fmla="*/ 310132 h 310132"/>
                <a:gd name="connsiteX5" fmla="*/ 152400 w 349250"/>
                <a:gd name="connsiteY5" fmla="*/ 285750 h 310132"/>
                <a:gd name="connsiteX6" fmla="*/ 152400 w 349250"/>
                <a:gd name="connsiteY6" fmla="*/ 120650 h 310132"/>
                <a:gd name="connsiteX7" fmla="*/ 63500 w 349250"/>
                <a:gd name="connsiteY7" fmla="*/ 63500 h 310132"/>
                <a:gd name="connsiteX8" fmla="*/ 0 w 349250"/>
                <a:gd name="connsiteY8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24096 w 349250"/>
                <a:gd name="connsiteY4" fmla="*/ 310132 h 310132"/>
                <a:gd name="connsiteX5" fmla="*/ 176978 w 349250"/>
                <a:gd name="connsiteY5" fmla="*/ 301205 h 310132"/>
                <a:gd name="connsiteX6" fmla="*/ 152400 w 349250"/>
                <a:gd name="connsiteY6" fmla="*/ 120650 h 310132"/>
                <a:gd name="connsiteX7" fmla="*/ 63500 w 349250"/>
                <a:gd name="connsiteY7" fmla="*/ 63500 h 310132"/>
                <a:gd name="connsiteX8" fmla="*/ 0 w 349250"/>
                <a:gd name="connsiteY8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24096 w 349250"/>
                <a:gd name="connsiteY4" fmla="*/ 310132 h 310132"/>
                <a:gd name="connsiteX5" fmla="*/ 176978 w 349250"/>
                <a:gd name="connsiteY5" fmla="*/ 301205 h 310132"/>
                <a:gd name="connsiteX6" fmla="*/ 164431 w 349250"/>
                <a:gd name="connsiteY6" fmla="*/ 217842 h 310132"/>
                <a:gd name="connsiteX7" fmla="*/ 152400 w 349250"/>
                <a:gd name="connsiteY7" fmla="*/ 120650 h 310132"/>
                <a:gd name="connsiteX8" fmla="*/ 63500 w 349250"/>
                <a:gd name="connsiteY8" fmla="*/ 63500 h 310132"/>
                <a:gd name="connsiteX9" fmla="*/ 0 w 349250"/>
                <a:gd name="connsiteY9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24096 w 349250"/>
                <a:gd name="connsiteY4" fmla="*/ 310132 h 310132"/>
                <a:gd name="connsiteX5" fmla="*/ 176978 w 349250"/>
                <a:gd name="connsiteY5" fmla="*/ 301205 h 310132"/>
                <a:gd name="connsiteX6" fmla="*/ 154601 w 349250"/>
                <a:gd name="connsiteY6" fmla="*/ 269362 h 310132"/>
                <a:gd name="connsiteX7" fmla="*/ 152400 w 349250"/>
                <a:gd name="connsiteY7" fmla="*/ 120650 h 310132"/>
                <a:gd name="connsiteX8" fmla="*/ 63500 w 349250"/>
                <a:gd name="connsiteY8" fmla="*/ 63500 h 310132"/>
                <a:gd name="connsiteX9" fmla="*/ 0 w 349250"/>
                <a:gd name="connsiteY9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23416 w 349250"/>
                <a:gd name="connsiteY4" fmla="*/ 243602 h 310132"/>
                <a:gd name="connsiteX5" fmla="*/ 224096 w 349250"/>
                <a:gd name="connsiteY5" fmla="*/ 310132 h 310132"/>
                <a:gd name="connsiteX6" fmla="*/ 176978 w 349250"/>
                <a:gd name="connsiteY6" fmla="*/ 301205 h 310132"/>
                <a:gd name="connsiteX7" fmla="*/ 154601 w 349250"/>
                <a:gd name="connsiteY7" fmla="*/ 269362 h 310132"/>
                <a:gd name="connsiteX8" fmla="*/ 152400 w 349250"/>
                <a:gd name="connsiteY8" fmla="*/ 120650 h 310132"/>
                <a:gd name="connsiteX9" fmla="*/ 63500 w 349250"/>
                <a:gd name="connsiteY9" fmla="*/ 63500 h 310132"/>
                <a:gd name="connsiteX10" fmla="*/ 0 w 349250"/>
                <a:gd name="connsiteY10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28332 w 349250"/>
                <a:gd name="connsiteY4" fmla="*/ 271937 h 310132"/>
                <a:gd name="connsiteX5" fmla="*/ 224096 w 349250"/>
                <a:gd name="connsiteY5" fmla="*/ 310132 h 310132"/>
                <a:gd name="connsiteX6" fmla="*/ 176978 w 349250"/>
                <a:gd name="connsiteY6" fmla="*/ 301205 h 310132"/>
                <a:gd name="connsiteX7" fmla="*/ 154601 w 349250"/>
                <a:gd name="connsiteY7" fmla="*/ 269362 h 310132"/>
                <a:gd name="connsiteX8" fmla="*/ 152400 w 349250"/>
                <a:gd name="connsiteY8" fmla="*/ 120650 h 310132"/>
                <a:gd name="connsiteX9" fmla="*/ 63500 w 349250"/>
                <a:gd name="connsiteY9" fmla="*/ 63500 h 310132"/>
                <a:gd name="connsiteX10" fmla="*/ 0 w 349250"/>
                <a:gd name="connsiteY10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30789 w 349250"/>
                <a:gd name="connsiteY4" fmla="*/ 269361 h 310132"/>
                <a:gd name="connsiteX5" fmla="*/ 224096 w 349250"/>
                <a:gd name="connsiteY5" fmla="*/ 310132 h 310132"/>
                <a:gd name="connsiteX6" fmla="*/ 176978 w 349250"/>
                <a:gd name="connsiteY6" fmla="*/ 301205 h 310132"/>
                <a:gd name="connsiteX7" fmla="*/ 154601 w 349250"/>
                <a:gd name="connsiteY7" fmla="*/ 269362 h 310132"/>
                <a:gd name="connsiteX8" fmla="*/ 152400 w 349250"/>
                <a:gd name="connsiteY8" fmla="*/ 120650 h 310132"/>
                <a:gd name="connsiteX9" fmla="*/ 63500 w 349250"/>
                <a:gd name="connsiteY9" fmla="*/ 63500 h 310132"/>
                <a:gd name="connsiteX10" fmla="*/ 0 w 349250"/>
                <a:gd name="connsiteY10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30789 w 349250"/>
                <a:gd name="connsiteY4" fmla="*/ 269361 h 310132"/>
                <a:gd name="connsiteX5" fmla="*/ 224096 w 349250"/>
                <a:gd name="connsiteY5" fmla="*/ 310132 h 310132"/>
                <a:gd name="connsiteX6" fmla="*/ 176978 w 349250"/>
                <a:gd name="connsiteY6" fmla="*/ 301205 h 310132"/>
                <a:gd name="connsiteX7" fmla="*/ 154601 w 349250"/>
                <a:gd name="connsiteY7" fmla="*/ 269362 h 310132"/>
                <a:gd name="connsiteX8" fmla="*/ 152400 w 349250"/>
                <a:gd name="connsiteY8" fmla="*/ 120650 h 310132"/>
                <a:gd name="connsiteX9" fmla="*/ 63500 w 349250"/>
                <a:gd name="connsiteY9" fmla="*/ 63500 h 310132"/>
                <a:gd name="connsiteX10" fmla="*/ 0 w 349250"/>
                <a:gd name="connsiteY10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23850 w 349250"/>
                <a:gd name="connsiteY2" fmla="*/ 50800 h 310132"/>
                <a:gd name="connsiteX3" fmla="*/ 222250 w 349250"/>
                <a:gd name="connsiteY3" fmla="*/ 120650 h 310132"/>
                <a:gd name="connsiteX4" fmla="*/ 230789 w 349250"/>
                <a:gd name="connsiteY4" fmla="*/ 269361 h 310132"/>
                <a:gd name="connsiteX5" fmla="*/ 224096 w 349250"/>
                <a:gd name="connsiteY5" fmla="*/ 310132 h 310132"/>
                <a:gd name="connsiteX6" fmla="*/ 176978 w 349250"/>
                <a:gd name="connsiteY6" fmla="*/ 301205 h 310132"/>
                <a:gd name="connsiteX7" fmla="*/ 154601 w 349250"/>
                <a:gd name="connsiteY7" fmla="*/ 269362 h 310132"/>
                <a:gd name="connsiteX8" fmla="*/ 152400 w 349250"/>
                <a:gd name="connsiteY8" fmla="*/ 120650 h 310132"/>
                <a:gd name="connsiteX9" fmla="*/ 63500 w 349250"/>
                <a:gd name="connsiteY9" fmla="*/ 63500 h 310132"/>
                <a:gd name="connsiteX10" fmla="*/ 0 w 349250"/>
                <a:gd name="connsiteY10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316477 w 349250"/>
                <a:gd name="connsiteY2" fmla="*/ 40496 h 310132"/>
                <a:gd name="connsiteX3" fmla="*/ 222250 w 349250"/>
                <a:gd name="connsiteY3" fmla="*/ 120650 h 310132"/>
                <a:gd name="connsiteX4" fmla="*/ 230789 w 349250"/>
                <a:gd name="connsiteY4" fmla="*/ 269361 h 310132"/>
                <a:gd name="connsiteX5" fmla="*/ 224096 w 349250"/>
                <a:gd name="connsiteY5" fmla="*/ 310132 h 310132"/>
                <a:gd name="connsiteX6" fmla="*/ 176978 w 349250"/>
                <a:gd name="connsiteY6" fmla="*/ 301205 h 310132"/>
                <a:gd name="connsiteX7" fmla="*/ 154601 w 349250"/>
                <a:gd name="connsiteY7" fmla="*/ 269362 h 310132"/>
                <a:gd name="connsiteX8" fmla="*/ 152400 w 349250"/>
                <a:gd name="connsiteY8" fmla="*/ 120650 h 310132"/>
                <a:gd name="connsiteX9" fmla="*/ 63500 w 349250"/>
                <a:gd name="connsiteY9" fmla="*/ 63500 h 310132"/>
                <a:gd name="connsiteX10" fmla="*/ 0 w 349250"/>
                <a:gd name="connsiteY10" fmla="*/ 0 h 310132"/>
                <a:gd name="connsiteX0" fmla="*/ 0 w 349250"/>
                <a:gd name="connsiteY0" fmla="*/ 0 h 310132"/>
                <a:gd name="connsiteX1" fmla="*/ 349250 w 349250"/>
                <a:gd name="connsiteY1" fmla="*/ 6350 h 310132"/>
                <a:gd name="connsiteX2" fmla="*/ 222250 w 349250"/>
                <a:gd name="connsiteY2" fmla="*/ 120650 h 310132"/>
                <a:gd name="connsiteX3" fmla="*/ 230789 w 349250"/>
                <a:gd name="connsiteY3" fmla="*/ 269361 h 310132"/>
                <a:gd name="connsiteX4" fmla="*/ 224096 w 349250"/>
                <a:gd name="connsiteY4" fmla="*/ 310132 h 310132"/>
                <a:gd name="connsiteX5" fmla="*/ 176978 w 349250"/>
                <a:gd name="connsiteY5" fmla="*/ 301205 h 310132"/>
                <a:gd name="connsiteX6" fmla="*/ 154601 w 349250"/>
                <a:gd name="connsiteY6" fmla="*/ 269362 h 310132"/>
                <a:gd name="connsiteX7" fmla="*/ 152400 w 349250"/>
                <a:gd name="connsiteY7" fmla="*/ 120650 h 310132"/>
                <a:gd name="connsiteX8" fmla="*/ 63500 w 349250"/>
                <a:gd name="connsiteY8" fmla="*/ 63500 h 310132"/>
                <a:gd name="connsiteX9" fmla="*/ 0 w 349250"/>
                <a:gd name="connsiteY9" fmla="*/ 0 h 310132"/>
                <a:gd name="connsiteX0" fmla="*/ 0 w 339419"/>
                <a:gd name="connsiteY0" fmla="*/ 0 h 310132"/>
                <a:gd name="connsiteX1" fmla="*/ 339419 w 339419"/>
                <a:gd name="connsiteY1" fmla="*/ 3773 h 310132"/>
                <a:gd name="connsiteX2" fmla="*/ 222250 w 339419"/>
                <a:gd name="connsiteY2" fmla="*/ 120650 h 310132"/>
                <a:gd name="connsiteX3" fmla="*/ 230789 w 339419"/>
                <a:gd name="connsiteY3" fmla="*/ 269361 h 310132"/>
                <a:gd name="connsiteX4" fmla="*/ 224096 w 339419"/>
                <a:gd name="connsiteY4" fmla="*/ 310132 h 310132"/>
                <a:gd name="connsiteX5" fmla="*/ 176978 w 339419"/>
                <a:gd name="connsiteY5" fmla="*/ 301205 h 310132"/>
                <a:gd name="connsiteX6" fmla="*/ 154601 w 339419"/>
                <a:gd name="connsiteY6" fmla="*/ 269362 h 310132"/>
                <a:gd name="connsiteX7" fmla="*/ 152400 w 339419"/>
                <a:gd name="connsiteY7" fmla="*/ 120650 h 310132"/>
                <a:gd name="connsiteX8" fmla="*/ 63500 w 339419"/>
                <a:gd name="connsiteY8" fmla="*/ 63500 h 310132"/>
                <a:gd name="connsiteX9" fmla="*/ 0 w 339419"/>
                <a:gd name="connsiteY9" fmla="*/ 0 h 310132"/>
                <a:gd name="connsiteX0" fmla="*/ 0 w 339419"/>
                <a:gd name="connsiteY0" fmla="*/ 0 h 310132"/>
                <a:gd name="connsiteX1" fmla="*/ 339419 w 339419"/>
                <a:gd name="connsiteY1" fmla="*/ 3773 h 310132"/>
                <a:gd name="connsiteX2" fmla="*/ 222250 w 339419"/>
                <a:gd name="connsiteY2" fmla="*/ 120650 h 310132"/>
                <a:gd name="connsiteX3" fmla="*/ 230789 w 339419"/>
                <a:gd name="connsiteY3" fmla="*/ 269361 h 310132"/>
                <a:gd name="connsiteX4" fmla="*/ 224096 w 339419"/>
                <a:gd name="connsiteY4" fmla="*/ 310132 h 310132"/>
                <a:gd name="connsiteX5" fmla="*/ 176978 w 339419"/>
                <a:gd name="connsiteY5" fmla="*/ 301205 h 310132"/>
                <a:gd name="connsiteX6" fmla="*/ 154601 w 339419"/>
                <a:gd name="connsiteY6" fmla="*/ 269362 h 310132"/>
                <a:gd name="connsiteX7" fmla="*/ 152400 w 339419"/>
                <a:gd name="connsiteY7" fmla="*/ 120650 h 310132"/>
                <a:gd name="connsiteX8" fmla="*/ 0 w 339419"/>
                <a:gd name="connsiteY8" fmla="*/ 0 h 310132"/>
                <a:gd name="connsiteX0" fmla="*/ 0 w 540949"/>
                <a:gd name="connsiteY0" fmla="*/ 6531 h 306359"/>
                <a:gd name="connsiteX1" fmla="*/ 540949 w 540949"/>
                <a:gd name="connsiteY1" fmla="*/ 0 h 306359"/>
                <a:gd name="connsiteX2" fmla="*/ 423780 w 540949"/>
                <a:gd name="connsiteY2" fmla="*/ 116877 h 306359"/>
                <a:gd name="connsiteX3" fmla="*/ 432319 w 540949"/>
                <a:gd name="connsiteY3" fmla="*/ 265588 h 306359"/>
                <a:gd name="connsiteX4" fmla="*/ 425626 w 540949"/>
                <a:gd name="connsiteY4" fmla="*/ 306359 h 306359"/>
                <a:gd name="connsiteX5" fmla="*/ 378508 w 540949"/>
                <a:gd name="connsiteY5" fmla="*/ 297432 h 306359"/>
                <a:gd name="connsiteX6" fmla="*/ 356131 w 540949"/>
                <a:gd name="connsiteY6" fmla="*/ 265589 h 306359"/>
                <a:gd name="connsiteX7" fmla="*/ 353930 w 540949"/>
                <a:gd name="connsiteY7" fmla="*/ 116877 h 306359"/>
                <a:gd name="connsiteX8" fmla="*/ 0 w 540949"/>
                <a:gd name="connsiteY8" fmla="*/ 6531 h 306359"/>
                <a:gd name="connsiteX0" fmla="*/ 0 w 523745"/>
                <a:gd name="connsiteY0" fmla="*/ 0 h 299828"/>
                <a:gd name="connsiteX1" fmla="*/ 523745 w 523745"/>
                <a:gd name="connsiteY1" fmla="*/ 14077 h 299828"/>
                <a:gd name="connsiteX2" fmla="*/ 423780 w 523745"/>
                <a:gd name="connsiteY2" fmla="*/ 110346 h 299828"/>
                <a:gd name="connsiteX3" fmla="*/ 432319 w 523745"/>
                <a:gd name="connsiteY3" fmla="*/ 259057 h 299828"/>
                <a:gd name="connsiteX4" fmla="*/ 425626 w 523745"/>
                <a:gd name="connsiteY4" fmla="*/ 299828 h 299828"/>
                <a:gd name="connsiteX5" fmla="*/ 378508 w 523745"/>
                <a:gd name="connsiteY5" fmla="*/ 290901 h 299828"/>
                <a:gd name="connsiteX6" fmla="*/ 356131 w 523745"/>
                <a:gd name="connsiteY6" fmla="*/ 259058 h 299828"/>
                <a:gd name="connsiteX7" fmla="*/ 353930 w 523745"/>
                <a:gd name="connsiteY7" fmla="*/ 110346 h 299828"/>
                <a:gd name="connsiteX8" fmla="*/ 0 w 523745"/>
                <a:gd name="connsiteY8" fmla="*/ 0 h 299828"/>
                <a:gd name="connsiteX0" fmla="*/ 0 w 531118"/>
                <a:gd name="connsiteY0" fmla="*/ 0 h 299828"/>
                <a:gd name="connsiteX1" fmla="*/ 531118 w 531118"/>
                <a:gd name="connsiteY1" fmla="*/ 8925 h 299828"/>
                <a:gd name="connsiteX2" fmla="*/ 423780 w 531118"/>
                <a:gd name="connsiteY2" fmla="*/ 110346 h 299828"/>
                <a:gd name="connsiteX3" fmla="*/ 432319 w 531118"/>
                <a:gd name="connsiteY3" fmla="*/ 259057 h 299828"/>
                <a:gd name="connsiteX4" fmla="*/ 425626 w 531118"/>
                <a:gd name="connsiteY4" fmla="*/ 299828 h 299828"/>
                <a:gd name="connsiteX5" fmla="*/ 378508 w 531118"/>
                <a:gd name="connsiteY5" fmla="*/ 290901 h 299828"/>
                <a:gd name="connsiteX6" fmla="*/ 356131 w 531118"/>
                <a:gd name="connsiteY6" fmla="*/ 259058 h 299828"/>
                <a:gd name="connsiteX7" fmla="*/ 353930 w 531118"/>
                <a:gd name="connsiteY7" fmla="*/ 110346 h 299828"/>
                <a:gd name="connsiteX8" fmla="*/ 0 w 531118"/>
                <a:gd name="connsiteY8" fmla="*/ 0 h 299828"/>
                <a:gd name="connsiteX0" fmla="*/ 0 w 531118"/>
                <a:gd name="connsiteY0" fmla="*/ 0 h 299828"/>
                <a:gd name="connsiteX1" fmla="*/ 531118 w 531118"/>
                <a:gd name="connsiteY1" fmla="*/ 8925 h 299828"/>
                <a:gd name="connsiteX2" fmla="*/ 423780 w 531118"/>
                <a:gd name="connsiteY2" fmla="*/ 110346 h 299828"/>
                <a:gd name="connsiteX3" fmla="*/ 432319 w 531118"/>
                <a:gd name="connsiteY3" fmla="*/ 259057 h 299828"/>
                <a:gd name="connsiteX4" fmla="*/ 425626 w 531118"/>
                <a:gd name="connsiteY4" fmla="*/ 299828 h 299828"/>
                <a:gd name="connsiteX5" fmla="*/ 378508 w 531118"/>
                <a:gd name="connsiteY5" fmla="*/ 290901 h 299828"/>
                <a:gd name="connsiteX6" fmla="*/ 356131 w 531118"/>
                <a:gd name="connsiteY6" fmla="*/ 259058 h 299828"/>
                <a:gd name="connsiteX7" fmla="*/ 353930 w 531118"/>
                <a:gd name="connsiteY7" fmla="*/ 110346 h 299828"/>
                <a:gd name="connsiteX8" fmla="*/ 0 w 531118"/>
                <a:gd name="connsiteY8" fmla="*/ 0 h 299828"/>
                <a:gd name="connsiteX0" fmla="*/ 0 w 531118"/>
                <a:gd name="connsiteY0" fmla="*/ 0 h 299828"/>
                <a:gd name="connsiteX1" fmla="*/ 531118 w 531118"/>
                <a:gd name="connsiteY1" fmla="*/ 8925 h 299828"/>
                <a:gd name="connsiteX2" fmla="*/ 423780 w 531118"/>
                <a:gd name="connsiteY2" fmla="*/ 110346 h 299828"/>
                <a:gd name="connsiteX3" fmla="*/ 432319 w 531118"/>
                <a:gd name="connsiteY3" fmla="*/ 259057 h 299828"/>
                <a:gd name="connsiteX4" fmla="*/ 425626 w 531118"/>
                <a:gd name="connsiteY4" fmla="*/ 299828 h 299828"/>
                <a:gd name="connsiteX5" fmla="*/ 378508 w 531118"/>
                <a:gd name="connsiteY5" fmla="*/ 290901 h 299828"/>
                <a:gd name="connsiteX6" fmla="*/ 356131 w 531118"/>
                <a:gd name="connsiteY6" fmla="*/ 259058 h 299828"/>
                <a:gd name="connsiteX7" fmla="*/ 353930 w 531118"/>
                <a:gd name="connsiteY7" fmla="*/ 110346 h 299828"/>
                <a:gd name="connsiteX8" fmla="*/ 0 w 531118"/>
                <a:gd name="connsiteY8" fmla="*/ 0 h 299828"/>
                <a:gd name="connsiteX0" fmla="*/ 0 w 531118"/>
                <a:gd name="connsiteY0" fmla="*/ 0 h 299828"/>
                <a:gd name="connsiteX1" fmla="*/ 531118 w 531118"/>
                <a:gd name="connsiteY1" fmla="*/ 8925 h 299828"/>
                <a:gd name="connsiteX2" fmla="*/ 423780 w 531118"/>
                <a:gd name="connsiteY2" fmla="*/ 110346 h 299828"/>
                <a:gd name="connsiteX3" fmla="*/ 432319 w 531118"/>
                <a:gd name="connsiteY3" fmla="*/ 259057 h 299828"/>
                <a:gd name="connsiteX4" fmla="*/ 425626 w 531118"/>
                <a:gd name="connsiteY4" fmla="*/ 299828 h 299828"/>
                <a:gd name="connsiteX5" fmla="*/ 378508 w 531118"/>
                <a:gd name="connsiteY5" fmla="*/ 290901 h 299828"/>
                <a:gd name="connsiteX6" fmla="*/ 356131 w 531118"/>
                <a:gd name="connsiteY6" fmla="*/ 259058 h 299828"/>
                <a:gd name="connsiteX7" fmla="*/ 353930 w 531118"/>
                <a:gd name="connsiteY7" fmla="*/ 110346 h 299828"/>
                <a:gd name="connsiteX8" fmla="*/ 0 w 531118"/>
                <a:gd name="connsiteY8" fmla="*/ 0 h 299828"/>
                <a:gd name="connsiteX0" fmla="*/ 0 w 531118"/>
                <a:gd name="connsiteY0" fmla="*/ 0 h 299828"/>
                <a:gd name="connsiteX1" fmla="*/ 531118 w 531118"/>
                <a:gd name="connsiteY1" fmla="*/ 8925 h 299828"/>
                <a:gd name="connsiteX2" fmla="*/ 423780 w 531118"/>
                <a:gd name="connsiteY2" fmla="*/ 110346 h 299828"/>
                <a:gd name="connsiteX3" fmla="*/ 432319 w 531118"/>
                <a:gd name="connsiteY3" fmla="*/ 259057 h 299828"/>
                <a:gd name="connsiteX4" fmla="*/ 425626 w 531118"/>
                <a:gd name="connsiteY4" fmla="*/ 299828 h 299828"/>
                <a:gd name="connsiteX5" fmla="*/ 378508 w 531118"/>
                <a:gd name="connsiteY5" fmla="*/ 290901 h 299828"/>
                <a:gd name="connsiteX6" fmla="*/ 356131 w 531118"/>
                <a:gd name="connsiteY6" fmla="*/ 259058 h 299828"/>
                <a:gd name="connsiteX7" fmla="*/ 353930 w 531118"/>
                <a:gd name="connsiteY7" fmla="*/ 110346 h 299828"/>
                <a:gd name="connsiteX8" fmla="*/ 0 w 531118"/>
                <a:gd name="connsiteY8" fmla="*/ 0 h 299828"/>
                <a:gd name="connsiteX0" fmla="*/ 0 w 577814"/>
                <a:gd name="connsiteY0" fmla="*/ 99267 h 399095"/>
                <a:gd name="connsiteX1" fmla="*/ 577814 w 577814"/>
                <a:gd name="connsiteY1" fmla="*/ 0 h 399095"/>
                <a:gd name="connsiteX2" fmla="*/ 423780 w 577814"/>
                <a:gd name="connsiteY2" fmla="*/ 209613 h 399095"/>
                <a:gd name="connsiteX3" fmla="*/ 432319 w 577814"/>
                <a:gd name="connsiteY3" fmla="*/ 358324 h 399095"/>
                <a:gd name="connsiteX4" fmla="*/ 425626 w 577814"/>
                <a:gd name="connsiteY4" fmla="*/ 399095 h 399095"/>
                <a:gd name="connsiteX5" fmla="*/ 378508 w 577814"/>
                <a:gd name="connsiteY5" fmla="*/ 390168 h 399095"/>
                <a:gd name="connsiteX6" fmla="*/ 356131 w 577814"/>
                <a:gd name="connsiteY6" fmla="*/ 358325 h 399095"/>
                <a:gd name="connsiteX7" fmla="*/ 353930 w 577814"/>
                <a:gd name="connsiteY7" fmla="*/ 209613 h 399095"/>
                <a:gd name="connsiteX8" fmla="*/ 0 w 577814"/>
                <a:gd name="connsiteY8" fmla="*/ 99267 h 399095"/>
                <a:gd name="connsiteX0" fmla="*/ 0 w 929264"/>
                <a:gd name="connsiteY0" fmla="*/ 0 h 420899"/>
                <a:gd name="connsiteX1" fmla="*/ 929264 w 929264"/>
                <a:gd name="connsiteY1" fmla="*/ 21804 h 420899"/>
                <a:gd name="connsiteX2" fmla="*/ 775230 w 929264"/>
                <a:gd name="connsiteY2" fmla="*/ 231417 h 420899"/>
                <a:gd name="connsiteX3" fmla="*/ 783769 w 929264"/>
                <a:gd name="connsiteY3" fmla="*/ 380128 h 420899"/>
                <a:gd name="connsiteX4" fmla="*/ 777076 w 929264"/>
                <a:gd name="connsiteY4" fmla="*/ 420899 h 420899"/>
                <a:gd name="connsiteX5" fmla="*/ 729958 w 929264"/>
                <a:gd name="connsiteY5" fmla="*/ 411972 h 420899"/>
                <a:gd name="connsiteX6" fmla="*/ 707581 w 929264"/>
                <a:gd name="connsiteY6" fmla="*/ 380129 h 420899"/>
                <a:gd name="connsiteX7" fmla="*/ 705380 w 929264"/>
                <a:gd name="connsiteY7" fmla="*/ 231417 h 420899"/>
                <a:gd name="connsiteX8" fmla="*/ 0 w 929264"/>
                <a:gd name="connsiteY8" fmla="*/ 0 h 420899"/>
                <a:gd name="connsiteX0" fmla="*/ 0 w 929264"/>
                <a:gd name="connsiteY0" fmla="*/ 0 h 420899"/>
                <a:gd name="connsiteX1" fmla="*/ 929264 w 929264"/>
                <a:gd name="connsiteY1" fmla="*/ 21804 h 420899"/>
                <a:gd name="connsiteX2" fmla="*/ 775230 w 929264"/>
                <a:gd name="connsiteY2" fmla="*/ 231417 h 420899"/>
                <a:gd name="connsiteX3" fmla="*/ 783769 w 929264"/>
                <a:gd name="connsiteY3" fmla="*/ 380128 h 420899"/>
                <a:gd name="connsiteX4" fmla="*/ 777076 w 929264"/>
                <a:gd name="connsiteY4" fmla="*/ 420899 h 420899"/>
                <a:gd name="connsiteX5" fmla="*/ 729958 w 929264"/>
                <a:gd name="connsiteY5" fmla="*/ 411972 h 420899"/>
                <a:gd name="connsiteX6" fmla="*/ 707581 w 929264"/>
                <a:gd name="connsiteY6" fmla="*/ 380129 h 420899"/>
                <a:gd name="connsiteX7" fmla="*/ 705380 w 929264"/>
                <a:gd name="connsiteY7" fmla="*/ 231417 h 420899"/>
                <a:gd name="connsiteX8" fmla="*/ 0 w 929264"/>
                <a:gd name="connsiteY8" fmla="*/ 0 h 420899"/>
                <a:gd name="connsiteX0" fmla="*/ 23579 w 952843"/>
                <a:gd name="connsiteY0" fmla="*/ 0 h 420899"/>
                <a:gd name="connsiteX1" fmla="*/ 952843 w 952843"/>
                <a:gd name="connsiteY1" fmla="*/ 21804 h 420899"/>
                <a:gd name="connsiteX2" fmla="*/ 798809 w 952843"/>
                <a:gd name="connsiteY2" fmla="*/ 231417 h 420899"/>
                <a:gd name="connsiteX3" fmla="*/ 807348 w 952843"/>
                <a:gd name="connsiteY3" fmla="*/ 380128 h 420899"/>
                <a:gd name="connsiteX4" fmla="*/ 800655 w 952843"/>
                <a:gd name="connsiteY4" fmla="*/ 420899 h 420899"/>
                <a:gd name="connsiteX5" fmla="*/ 753537 w 952843"/>
                <a:gd name="connsiteY5" fmla="*/ 411972 h 420899"/>
                <a:gd name="connsiteX6" fmla="*/ 731160 w 952843"/>
                <a:gd name="connsiteY6" fmla="*/ 380129 h 420899"/>
                <a:gd name="connsiteX7" fmla="*/ 728959 w 952843"/>
                <a:gd name="connsiteY7" fmla="*/ 231417 h 420899"/>
                <a:gd name="connsiteX8" fmla="*/ 315363 w 952843"/>
                <a:gd name="connsiteY8" fmla="*/ 116956 h 420899"/>
                <a:gd name="connsiteX9" fmla="*/ 23579 w 952843"/>
                <a:gd name="connsiteY9" fmla="*/ 0 h 420899"/>
                <a:gd name="connsiteX0" fmla="*/ 23579 w 952843"/>
                <a:gd name="connsiteY0" fmla="*/ 0 h 420899"/>
                <a:gd name="connsiteX1" fmla="*/ 952843 w 952843"/>
                <a:gd name="connsiteY1" fmla="*/ 21804 h 420899"/>
                <a:gd name="connsiteX2" fmla="*/ 798809 w 952843"/>
                <a:gd name="connsiteY2" fmla="*/ 231417 h 420899"/>
                <a:gd name="connsiteX3" fmla="*/ 807348 w 952843"/>
                <a:gd name="connsiteY3" fmla="*/ 380128 h 420899"/>
                <a:gd name="connsiteX4" fmla="*/ 800655 w 952843"/>
                <a:gd name="connsiteY4" fmla="*/ 420899 h 420899"/>
                <a:gd name="connsiteX5" fmla="*/ 753537 w 952843"/>
                <a:gd name="connsiteY5" fmla="*/ 411972 h 420899"/>
                <a:gd name="connsiteX6" fmla="*/ 731160 w 952843"/>
                <a:gd name="connsiteY6" fmla="*/ 380129 h 420899"/>
                <a:gd name="connsiteX7" fmla="*/ 728959 w 952843"/>
                <a:gd name="connsiteY7" fmla="*/ 231417 h 420899"/>
                <a:gd name="connsiteX8" fmla="*/ 315363 w 952843"/>
                <a:gd name="connsiteY8" fmla="*/ 116956 h 420899"/>
                <a:gd name="connsiteX9" fmla="*/ 23579 w 952843"/>
                <a:gd name="connsiteY9" fmla="*/ 0 h 420899"/>
                <a:gd name="connsiteX0" fmla="*/ 23579 w 952843"/>
                <a:gd name="connsiteY0" fmla="*/ 0 h 420899"/>
                <a:gd name="connsiteX1" fmla="*/ 952843 w 952843"/>
                <a:gd name="connsiteY1" fmla="*/ 21804 h 420899"/>
                <a:gd name="connsiteX2" fmla="*/ 798809 w 952843"/>
                <a:gd name="connsiteY2" fmla="*/ 231417 h 420899"/>
                <a:gd name="connsiteX3" fmla="*/ 807348 w 952843"/>
                <a:gd name="connsiteY3" fmla="*/ 380128 h 420899"/>
                <a:gd name="connsiteX4" fmla="*/ 800655 w 952843"/>
                <a:gd name="connsiteY4" fmla="*/ 420899 h 420899"/>
                <a:gd name="connsiteX5" fmla="*/ 753537 w 952843"/>
                <a:gd name="connsiteY5" fmla="*/ 411972 h 420899"/>
                <a:gd name="connsiteX6" fmla="*/ 731160 w 952843"/>
                <a:gd name="connsiteY6" fmla="*/ 380129 h 420899"/>
                <a:gd name="connsiteX7" fmla="*/ 728959 w 952843"/>
                <a:gd name="connsiteY7" fmla="*/ 231417 h 420899"/>
                <a:gd name="connsiteX8" fmla="*/ 315363 w 952843"/>
                <a:gd name="connsiteY8" fmla="*/ 116956 h 420899"/>
                <a:gd name="connsiteX9" fmla="*/ 23579 w 952843"/>
                <a:gd name="connsiteY9" fmla="*/ 0 h 420899"/>
                <a:gd name="connsiteX0" fmla="*/ 21560 w 950824"/>
                <a:gd name="connsiteY0" fmla="*/ 0 h 420899"/>
                <a:gd name="connsiteX1" fmla="*/ 950824 w 950824"/>
                <a:gd name="connsiteY1" fmla="*/ 21804 h 420899"/>
                <a:gd name="connsiteX2" fmla="*/ 796790 w 950824"/>
                <a:gd name="connsiteY2" fmla="*/ 231417 h 420899"/>
                <a:gd name="connsiteX3" fmla="*/ 805329 w 950824"/>
                <a:gd name="connsiteY3" fmla="*/ 380128 h 420899"/>
                <a:gd name="connsiteX4" fmla="*/ 798636 w 950824"/>
                <a:gd name="connsiteY4" fmla="*/ 420899 h 420899"/>
                <a:gd name="connsiteX5" fmla="*/ 751518 w 950824"/>
                <a:gd name="connsiteY5" fmla="*/ 411972 h 420899"/>
                <a:gd name="connsiteX6" fmla="*/ 729141 w 950824"/>
                <a:gd name="connsiteY6" fmla="*/ 380129 h 420899"/>
                <a:gd name="connsiteX7" fmla="*/ 726940 w 950824"/>
                <a:gd name="connsiteY7" fmla="*/ 231417 h 420899"/>
                <a:gd name="connsiteX8" fmla="*/ 347751 w 950824"/>
                <a:gd name="connsiteY8" fmla="*/ 124683 h 420899"/>
                <a:gd name="connsiteX9" fmla="*/ 21560 w 950824"/>
                <a:gd name="connsiteY9" fmla="*/ 0 h 420899"/>
                <a:gd name="connsiteX0" fmla="*/ 21043 w 950307"/>
                <a:gd name="connsiteY0" fmla="*/ 0 h 420899"/>
                <a:gd name="connsiteX1" fmla="*/ 950307 w 950307"/>
                <a:gd name="connsiteY1" fmla="*/ 21804 h 420899"/>
                <a:gd name="connsiteX2" fmla="*/ 796273 w 950307"/>
                <a:gd name="connsiteY2" fmla="*/ 231417 h 420899"/>
                <a:gd name="connsiteX3" fmla="*/ 804812 w 950307"/>
                <a:gd name="connsiteY3" fmla="*/ 380128 h 420899"/>
                <a:gd name="connsiteX4" fmla="*/ 798119 w 950307"/>
                <a:gd name="connsiteY4" fmla="*/ 420899 h 420899"/>
                <a:gd name="connsiteX5" fmla="*/ 751001 w 950307"/>
                <a:gd name="connsiteY5" fmla="*/ 411972 h 420899"/>
                <a:gd name="connsiteX6" fmla="*/ 728624 w 950307"/>
                <a:gd name="connsiteY6" fmla="*/ 380129 h 420899"/>
                <a:gd name="connsiteX7" fmla="*/ 726423 w 950307"/>
                <a:gd name="connsiteY7" fmla="*/ 231417 h 420899"/>
                <a:gd name="connsiteX8" fmla="*/ 357064 w 950307"/>
                <a:gd name="connsiteY8" fmla="*/ 122108 h 420899"/>
                <a:gd name="connsiteX9" fmla="*/ 21043 w 950307"/>
                <a:gd name="connsiteY9" fmla="*/ 0 h 420899"/>
                <a:gd name="connsiteX0" fmla="*/ 21043 w 950307"/>
                <a:gd name="connsiteY0" fmla="*/ 0 h 420899"/>
                <a:gd name="connsiteX1" fmla="*/ 950307 w 950307"/>
                <a:gd name="connsiteY1" fmla="*/ 21804 h 420899"/>
                <a:gd name="connsiteX2" fmla="*/ 796273 w 950307"/>
                <a:gd name="connsiteY2" fmla="*/ 231417 h 420899"/>
                <a:gd name="connsiteX3" fmla="*/ 804812 w 950307"/>
                <a:gd name="connsiteY3" fmla="*/ 380128 h 420899"/>
                <a:gd name="connsiteX4" fmla="*/ 798119 w 950307"/>
                <a:gd name="connsiteY4" fmla="*/ 420899 h 420899"/>
                <a:gd name="connsiteX5" fmla="*/ 751001 w 950307"/>
                <a:gd name="connsiteY5" fmla="*/ 411972 h 420899"/>
                <a:gd name="connsiteX6" fmla="*/ 728624 w 950307"/>
                <a:gd name="connsiteY6" fmla="*/ 380129 h 420899"/>
                <a:gd name="connsiteX7" fmla="*/ 726423 w 950307"/>
                <a:gd name="connsiteY7" fmla="*/ 231417 h 420899"/>
                <a:gd name="connsiteX8" fmla="*/ 357064 w 950307"/>
                <a:gd name="connsiteY8" fmla="*/ 122108 h 420899"/>
                <a:gd name="connsiteX9" fmla="*/ 21043 w 950307"/>
                <a:gd name="connsiteY9" fmla="*/ 0 h 420899"/>
                <a:gd name="connsiteX0" fmla="*/ 0 w 929264"/>
                <a:gd name="connsiteY0" fmla="*/ 0 h 420899"/>
                <a:gd name="connsiteX1" fmla="*/ 929264 w 929264"/>
                <a:gd name="connsiteY1" fmla="*/ 21804 h 420899"/>
                <a:gd name="connsiteX2" fmla="*/ 775230 w 929264"/>
                <a:gd name="connsiteY2" fmla="*/ 231417 h 420899"/>
                <a:gd name="connsiteX3" fmla="*/ 783769 w 929264"/>
                <a:gd name="connsiteY3" fmla="*/ 380128 h 420899"/>
                <a:gd name="connsiteX4" fmla="*/ 777076 w 929264"/>
                <a:gd name="connsiteY4" fmla="*/ 420899 h 420899"/>
                <a:gd name="connsiteX5" fmla="*/ 729958 w 929264"/>
                <a:gd name="connsiteY5" fmla="*/ 411972 h 420899"/>
                <a:gd name="connsiteX6" fmla="*/ 707581 w 929264"/>
                <a:gd name="connsiteY6" fmla="*/ 380129 h 420899"/>
                <a:gd name="connsiteX7" fmla="*/ 705380 w 929264"/>
                <a:gd name="connsiteY7" fmla="*/ 231417 h 420899"/>
                <a:gd name="connsiteX8" fmla="*/ 336021 w 929264"/>
                <a:gd name="connsiteY8" fmla="*/ 122108 h 420899"/>
                <a:gd name="connsiteX9" fmla="*/ 0 w 929264"/>
                <a:gd name="connsiteY9" fmla="*/ 0 h 420899"/>
                <a:gd name="connsiteX0" fmla="*/ 0 w 936083"/>
                <a:gd name="connsiteY0" fmla="*/ 0 h 420899"/>
                <a:gd name="connsiteX1" fmla="*/ 936083 w 936083"/>
                <a:gd name="connsiteY1" fmla="*/ 16744 h 420899"/>
                <a:gd name="connsiteX2" fmla="*/ 775230 w 936083"/>
                <a:gd name="connsiteY2" fmla="*/ 231417 h 420899"/>
                <a:gd name="connsiteX3" fmla="*/ 783769 w 936083"/>
                <a:gd name="connsiteY3" fmla="*/ 380128 h 420899"/>
                <a:gd name="connsiteX4" fmla="*/ 777076 w 936083"/>
                <a:gd name="connsiteY4" fmla="*/ 420899 h 420899"/>
                <a:gd name="connsiteX5" fmla="*/ 729958 w 936083"/>
                <a:gd name="connsiteY5" fmla="*/ 411972 h 420899"/>
                <a:gd name="connsiteX6" fmla="*/ 707581 w 936083"/>
                <a:gd name="connsiteY6" fmla="*/ 380129 h 420899"/>
                <a:gd name="connsiteX7" fmla="*/ 705380 w 936083"/>
                <a:gd name="connsiteY7" fmla="*/ 231417 h 420899"/>
                <a:gd name="connsiteX8" fmla="*/ 336021 w 936083"/>
                <a:gd name="connsiteY8" fmla="*/ 122108 h 420899"/>
                <a:gd name="connsiteX9" fmla="*/ 0 w 936083"/>
                <a:gd name="connsiteY9" fmla="*/ 0 h 420899"/>
                <a:gd name="connsiteX0" fmla="*/ 0 w 929264"/>
                <a:gd name="connsiteY0" fmla="*/ 0 h 408755"/>
                <a:gd name="connsiteX1" fmla="*/ 929264 w 929264"/>
                <a:gd name="connsiteY1" fmla="*/ 4600 h 408755"/>
                <a:gd name="connsiteX2" fmla="*/ 768411 w 929264"/>
                <a:gd name="connsiteY2" fmla="*/ 219273 h 408755"/>
                <a:gd name="connsiteX3" fmla="*/ 776950 w 929264"/>
                <a:gd name="connsiteY3" fmla="*/ 367984 h 408755"/>
                <a:gd name="connsiteX4" fmla="*/ 770257 w 929264"/>
                <a:gd name="connsiteY4" fmla="*/ 408755 h 408755"/>
                <a:gd name="connsiteX5" fmla="*/ 723139 w 929264"/>
                <a:gd name="connsiteY5" fmla="*/ 399828 h 408755"/>
                <a:gd name="connsiteX6" fmla="*/ 700762 w 929264"/>
                <a:gd name="connsiteY6" fmla="*/ 367985 h 408755"/>
                <a:gd name="connsiteX7" fmla="*/ 698561 w 929264"/>
                <a:gd name="connsiteY7" fmla="*/ 219273 h 408755"/>
                <a:gd name="connsiteX8" fmla="*/ 329202 w 929264"/>
                <a:gd name="connsiteY8" fmla="*/ 109964 h 408755"/>
                <a:gd name="connsiteX9" fmla="*/ 0 w 929264"/>
                <a:gd name="connsiteY9" fmla="*/ 0 h 408755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61591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91741 w 922444"/>
                <a:gd name="connsiteY7" fmla="*/ 216237 h 405719"/>
                <a:gd name="connsiteX8" fmla="*/ 322382 w 922444"/>
                <a:gd name="connsiteY8" fmla="*/ 106928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91741 w 922444"/>
                <a:gd name="connsiteY7" fmla="*/ 216237 h 405719"/>
                <a:gd name="connsiteX8" fmla="*/ 322382 w 922444"/>
                <a:gd name="connsiteY8" fmla="*/ 106928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91741 w 922444"/>
                <a:gd name="connsiteY7" fmla="*/ 216237 h 405719"/>
                <a:gd name="connsiteX8" fmla="*/ 322382 w 922444"/>
                <a:gd name="connsiteY8" fmla="*/ 106928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91741 w 922444"/>
                <a:gd name="connsiteY7" fmla="*/ 216237 h 405719"/>
                <a:gd name="connsiteX8" fmla="*/ 322382 w 922444"/>
                <a:gd name="connsiteY8" fmla="*/ 106928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88331 w 922444"/>
                <a:gd name="connsiteY7" fmla="*/ 226356 h 405719"/>
                <a:gd name="connsiteX8" fmla="*/ 322382 w 922444"/>
                <a:gd name="connsiteY8" fmla="*/ 106928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88331 w 922444"/>
                <a:gd name="connsiteY7" fmla="*/ 226356 h 405719"/>
                <a:gd name="connsiteX8" fmla="*/ 322382 w 922444"/>
                <a:gd name="connsiteY8" fmla="*/ 106928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88331 w 922444"/>
                <a:gd name="connsiteY7" fmla="*/ 226356 h 405719"/>
                <a:gd name="connsiteX8" fmla="*/ 324656 w 922444"/>
                <a:gd name="connsiteY8" fmla="*/ 102880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88331 w 922444"/>
                <a:gd name="connsiteY7" fmla="*/ 226356 h 405719"/>
                <a:gd name="connsiteX8" fmla="*/ 312154 w 922444"/>
                <a:gd name="connsiteY8" fmla="*/ 95797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88331 w 922444"/>
                <a:gd name="connsiteY7" fmla="*/ 226356 h 405719"/>
                <a:gd name="connsiteX8" fmla="*/ 312154 w 922444"/>
                <a:gd name="connsiteY8" fmla="*/ 95797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88331 w 922444"/>
                <a:gd name="connsiteY7" fmla="*/ 226356 h 405719"/>
                <a:gd name="connsiteX8" fmla="*/ 312154 w 922444"/>
                <a:gd name="connsiteY8" fmla="*/ 95797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93942 w 922444"/>
                <a:gd name="connsiteY6" fmla="*/ 364949 h 405719"/>
                <a:gd name="connsiteX7" fmla="*/ 684922 w 922444"/>
                <a:gd name="connsiteY7" fmla="*/ 224332 h 405719"/>
                <a:gd name="connsiteX8" fmla="*/ 312154 w 922444"/>
                <a:gd name="connsiteY8" fmla="*/ 95797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70130 w 922444"/>
                <a:gd name="connsiteY3" fmla="*/ 364948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84849 w 922444"/>
                <a:gd name="connsiteY6" fmla="*/ 388224 h 405719"/>
                <a:gd name="connsiteX7" fmla="*/ 684922 w 922444"/>
                <a:gd name="connsiteY7" fmla="*/ 224332 h 405719"/>
                <a:gd name="connsiteX8" fmla="*/ 312154 w 922444"/>
                <a:gd name="connsiteY8" fmla="*/ 95797 h 405719"/>
                <a:gd name="connsiteX9" fmla="*/ 0 w 922444"/>
                <a:gd name="connsiteY9" fmla="*/ 0 h 405719"/>
                <a:gd name="connsiteX0" fmla="*/ 0 w 922444"/>
                <a:gd name="connsiteY0" fmla="*/ 0 h 405719"/>
                <a:gd name="connsiteX1" fmla="*/ 922444 w 922444"/>
                <a:gd name="connsiteY1" fmla="*/ 1564 h 405719"/>
                <a:gd name="connsiteX2" fmla="*/ 786596 w 922444"/>
                <a:gd name="connsiteY2" fmla="*/ 216237 h 405719"/>
                <a:gd name="connsiteX3" fmla="*/ 786042 w 922444"/>
                <a:gd name="connsiteY3" fmla="*/ 384175 h 405719"/>
                <a:gd name="connsiteX4" fmla="*/ 763437 w 922444"/>
                <a:gd name="connsiteY4" fmla="*/ 405719 h 405719"/>
                <a:gd name="connsiteX5" fmla="*/ 716319 w 922444"/>
                <a:gd name="connsiteY5" fmla="*/ 396792 h 405719"/>
                <a:gd name="connsiteX6" fmla="*/ 684849 w 922444"/>
                <a:gd name="connsiteY6" fmla="*/ 388224 h 405719"/>
                <a:gd name="connsiteX7" fmla="*/ 684922 w 922444"/>
                <a:gd name="connsiteY7" fmla="*/ 224332 h 405719"/>
                <a:gd name="connsiteX8" fmla="*/ 312154 w 922444"/>
                <a:gd name="connsiteY8" fmla="*/ 95797 h 405719"/>
                <a:gd name="connsiteX9" fmla="*/ 0 w 922444"/>
                <a:gd name="connsiteY9" fmla="*/ 0 h 405719"/>
                <a:gd name="connsiteX0" fmla="*/ 0 w 922444"/>
                <a:gd name="connsiteY0" fmla="*/ 0 h 396792"/>
                <a:gd name="connsiteX1" fmla="*/ 922444 w 922444"/>
                <a:gd name="connsiteY1" fmla="*/ 1564 h 396792"/>
                <a:gd name="connsiteX2" fmla="*/ 786596 w 922444"/>
                <a:gd name="connsiteY2" fmla="*/ 216237 h 396792"/>
                <a:gd name="connsiteX3" fmla="*/ 786042 w 922444"/>
                <a:gd name="connsiteY3" fmla="*/ 384175 h 396792"/>
                <a:gd name="connsiteX4" fmla="*/ 716319 w 922444"/>
                <a:gd name="connsiteY4" fmla="*/ 396792 h 396792"/>
                <a:gd name="connsiteX5" fmla="*/ 684849 w 922444"/>
                <a:gd name="connsiteY5" fmla="*/ 388224 h 396792"/>
                <a:gd name="connsiteX6" fmla="*/ 684922 w 922444"/>
                <a:gd name="connsiteY6" fmla="*/ 224332 h 396792"/>
                <a:gd name="connsiteX7" fmla="*/ 312154 w 922444"/>
                <a:gd name="connsiteY7" fmla="*/ 95797 h 396792"/>
                <a:gd name="connsiteX8" fmla="*/ 0 w 922444"/>
                <a:gd name="connsiteY8" fmla="*/ 0 h 396792"/>
                <a:gd name="connsiteX0" fmla="*/ 0 w 922444"/>
                <a:gd name="connsiteY0" fmla="*/ 0 h 388224"/>
                <a:gd name="connsiteX1" fmla="*/ 922444 w 922444"/>
                <a:gd name="connsiteY1" fmla="*/ 1564 h 388224"/>
                <a:gd name="connsiteX2" fmla="*/ 786596 w 922444"/>
                <a:gd name="connsiteY2" fmla="*/ 216237 h 388224"/>
                <a:gd name="connsiteX3" fmla="*/ 786042 w 922444"/>
                <a:gd name="connsiteY3" fmla="*/ 384175 h 388224"/>
                <a:gd name="connsiteX4" fmla="*/ 684849 w 922444"/>
                <a:gd name="connsiteY4" fmla="*/ 388224 h 388224"/>
                <a:gd name="connsiteX5" fmla="*/ 684922 w 922444"/>
                <a:gd name="connsiteY5" fmla="*/ 224332 h 388224"/>
                <a:gd name="connsiteX6" fmla="*/ 312154 w 922444"/>
                <a:gd name="connsiteY6" fmla="*/ 95797 h 388224"/>
                <a:gd name="connsiteX7" fmla="*/ 0 w 922444"/>
                <a:gd name="connsiteY7" fmla="*/ 0 h 388224"/>
                <a:gd name="connsiteX0" fmla="*/ 0 w 922444"/>
                <a:gd name="connsiteY0" fmla="*/ 0 h 395307"/>
                <a:gd name="connsiteX1" fmla="*/ 922444 w 922444"/>
                <a:gd name="connsiteY1" fmla="*/ 1564 h 395307"/>
                <a:gd name="connsiteX2" fmla="*/ 786596 w 922444"/>
                <a:gd name="connsiteY2" fmla="*/ 216237 h 395307"/>
                <a:gd name="connsiteX3" fmla="*/ 786042 w 922444"/>
                <a:gd name="connsiteY3" fmla="*/ 395307 h 395307"/>
                <a:gd name="connsiteX4" fmla="*/ 684849 w 922444"/>
                <a:gd name="connsiteY4" fmla="*/ 388224 h 395307"/>
                <a:gd name="connsiteX5" fmla="*/ 684922 w 922444"/>
                <a:gd name="connsiteY5" fmla="*/ 224332 h 395307"/>
                <a:gd name="connsiteX6" fmla="*/ 312154 w 922444"/>
                <a:gd name="connsiteY6" fmla="*/ 95797 h 395307"/>
                <a:gd name="connsiteX7" fmla="*/ 0 w 922444"/>
                <a:gd name="connsiteY7" fmla="*/ 0 h 395307"/>
                <a:gd name="connsiteX0" fmla="*/ 0 w 922444"/>
                <a:gd name="connsiteY0" fmla="*/ 0 h 397332"/>
                <a:gd name="connsiteX1" fmla="*/ 922444 w 922444"/>
                <a:gd name="connsiteY1" fmla="*/ 1564 h 397332"/>
                <a:gd name="connsiteX2" fmla="*/ 786596 w 922444"/>
                <a:gd name="connsiteY2" fmla="*/ 216237 h 397332"/>
                <a:gd name="connsiteX3" fmla="*/ 786042 w 922444"/>
                <a:gd name="connsiteY3" fmla="*/ 395307 h 397332"/>
                <a:gd name="connsiteX4" fmla="*/ 684849 w 922444"/>
                <a:gd name="connsiteY4" fmla="*/ 397332 h 397332"/>
                <a:gd name="connsiteX5" fmla="*/ 684922 w 922444"/>
                <a:gd name="connsiteY5" fmla="*/ 224332 h 397332"/>
                <a:gd name="connsiteX6" fmla="*/ 312154 w 922444"/>
                <a:gd name="connsiteY6" fmla="*/ 95797 h 397332"/>
                <a:gd name="connsiteX7" fmla="*/ 0 w 922444"/>
                <a:gd name="connsiteY7" fmla="*/ 0 h 397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22444" h="397332">
                  <a:moveTo>
                    <a:pt x="0" y="0"/>
                  </a:moveTo>
                  <a:lnTo>
                    <a:pt x="922444" y="1564"/>
                  </a:lnTo>
                  <a:cubicBezTo>
                    <a:pt x="906909" y="110074"/>
                    <a:pt x="847380" y="166239"/>
                    <a:pt x="786596" y="216237"/>
                  </a:cubicBezTo>
                  <a:cubicBezTo>
                    <a:pt x="769857" y="248371"/>
                    <a:pt x="785734" y="363727"/>
                    <a:pt x="786042" y="395307"/>
                  </a:cubicBezTo>
                  <a:lnTo>
                    <a:pt x="684849" y="397332"/>
                  </a:lnTo>
                  <a:cubicBezTo>
                    <a:pt x="684115" y="347761"/>
                    <a:pt x="685656" y="273903"/>
                    <a:pt x="684922" y="224332"/>
                  </a:cubicBezTo>
                  <a:cubicBezTo>
                    <a:pt x="487277" y="189118"/>
                    <a:pt x="513833" y="187817"/>
                    <a:pt x="312154" y="95797"/>
                  </a:cubicBezTo>
                  <a:cubicBezTo>
                    <a:pt x="188908" y="71396"/>
                    <a:pt x="68249" y="90562"/>
                    <a:pt x="0" y="0"/>
                  </a:cubicBezTo>
                  <a:close/>
                </a:path>
              </a:pathLst>
            </a:cu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0" name="Rectangle 509"/>
            <p:cNvSpPr/>
            <p:nvPr/>
          </p:nvSpPr>
          <p:spPr>
            <a:xfrm>
              <a:off x="4775215" y="3491787"/>
              <a:ext cx="411652" cy="6487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1" name="Freeform 510"/>
            <p:cNvSpPr/>
            <p:nvPr/>
          </p:nvSpPr>
          <p:spPr>
            <a:xfrm>
              <a:off x="4140708" y="3334110"/>
              <a:ext cx="370292" cy="242914"/>
            </a:xfrm>
            <a:custGeom>
              <a:avLst/>
              <a:gdLst>
                <a:gd name="connsiteX0" fmla="*/ 0 w 516732"/>
                <a:gd name="connsiteY0" fmla="*/ 42862 h 392906"/>
                <a:gd name="connsiteX1" fmla="*/ 359569 w 516732"/>
                <a:gd name="connsiteY1" fmla="*/ 0 h 392906"/>
                <a:gd name="connsiteX2" fmla="*/ 359569 w 516732"/>
                <a:gd name="connsiteY2" fmla="*/ 9525 h 392906"/>
                <a:gd name="connsiteX3" fmla="*/ 404813 w 516732"/>
                <a:gd name="connsiteY3" fmla="*/ 19050 h 392906"/>
                <a:gd name="connsiteX4" fmla="*/ 516732 w 516732"/>
                <a:gd name="connsiteY4" fmla="*/ 273844 h 392906"/>
                <a:gd name="connsiteX5" fmla="*/ 490538 w 516732"/>
                <a:gd name="connsiteY5" fmla="*/ 285750 h 392906"/>
                <a:gd name="connsiteX6" fmla="*/ 383382 w 516732"/>
                <a:gd name="connsiteY6" fmla="*/ 52387 h 392906"/>
                <a:gd name="connsiteX7" fmla="*/ 350044 w 516732"/>
                <a:gd name="connsiteY7" fmla="*/ 54769 h 392906"/>
                <a:gd name="connsiteX8" fmla="*/ 340519 w 516732"/>
                <a:gd name="connsiteY8" fmla="*/ 83344 h 392906"/>
                <a:gd name="connsiteX9" fmla="*/ 335757 w 516732"/>
                <a:gd name="connsiteY9" fmla="*/ 388144 h 392906"/>
                <a:gd name="connsiteX10" fmla="*/ 104775 w 516732"/>
                <a:gd name="connsiteY10" fmla="*/ 392906 h 392906"/>
                <a:gd name="connsiteX11" fmla="*/ 57150 w 516732"/>
                <a:gd name="connsiteY11" fmla="*/ 83344 h 392906"/>
                <a:gd name="connsiteX12" fmla="*/ 0 w 516732"/>
                <a:gd name="connsiteY12" fmla="*/ 42862 h 39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6732" h="392906">
                  <a:moveTo>
                    <a:pt x="0" y="42862"/>
                  </a:moveTo>
                  <a:lnTo>
                    <a:pt x="359569" y="0"/>
                  </a:lnTo>
                  <a:lnTo>
                    <a:pt x="359569" y="9525"/>
                  </a:lnTo>
                  <a:lnTo>
                    <a:pt x="404813" y="19050"/>
                  </a:lnTo>
                  <a:cubicBezTo>
                    <a:pt x="442414" y="103851"/>
                    <a:pt x="516732" y="181080"/>
                    <a:pt x="516732" y="273844"/>
                  </a:cubicBezTo>
                  <a:lnTo>
                    <a:pt x="490538" y="285750"/>
                  </a:lnTo>
                  <a:lnTo>
                    <a:pt x="383382" y="52387"/>
                  </a:lnTo>
                  <a:lnTo>
                    <a:pt x="350044" y="54769"/>
                  </a:lnTo>
                  <a:lnTo>
                    <a:pt x="340519" y="83344"/>
                  </a:lnTo>
                  <a:cubicBezTo>
                    <a:pt x="338932" y="184944"/>
                    <a:pt x="337344" y="286544"/>
                    <a:pt x="335757" y="388144"/>
                  </a:cubicBezTo>
                  <a:lnTo>
                    <a:pt x="104775" y="392906"/>
                  </a:lnTo>
                  <a:lnTo>
                    <a:pt x="57150" y="83344"/>
                  </a:lnTo>
                  <a:lnTo>
                    <a:pt x="0" y="42862"/>
                  </a:lnTo>
                  <a:close/>
                </a:path>
              </a:pathLst>
            </a:custGeom>
            <a:solidFill>
              <a:srgbClr val="F79646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endParaRPr>
            </a:p>
          </p:txBody>
        </p:sp>
        <p:sp>
          <p:nvSpPr>
            <p:cNvPr id="512" name="Rectangle 511"/>
            <p:cNvSpPr/>
            <p:nvPr/>
          </p:nvSpPr>
          <p:spPr>
            <a:xfrm>
              <a:off x="6579952" y="4151908"/>
              <a:ext cx="95981" cy="308489"/>
            </a:xfrm>
            <a:prstGeom prst="rect">
              <a:avLst/>
            </a:prstGeom>
            <a:solidFill>
              <a:srgbClr val="FFDB6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13" name="Group 512"/>
            <p:cNvGrpSpPr/>
            <p:nvPr/>
          </p:nvGrpSpPr>
          <p:grpSpPr>
            <a:xfrm>
              <a:off x="6483271" y="4051294"/>
              <a:ext cx="1662262" cy="186364"/>
              <a:chOff x="2214471" y="6226491"/>
              <a:chExt cx="1475340" cy="143352"/>
            </a:xfrm>
          </p:grpSpPr>
          <p:sp>
            <p:nvSpPr>
              <p:cNvPr id="516" name="Oval 515"/>
              <p:cNvSpPr/>
              <p:nvPr/>
            </p:nvSpPr>
            <p:spPr>
              <a:xfrm>
                <a:off x="2214471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7" name="Oval 516"/>
              <p:cNvSpPr/>
              <p:nvPr/>
            </p:nvSpPr>
            <p:spPr>
              <a:xfrm>
                <a:off x="2281055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8" name="Oval 517"/>
              <p:cNvSpPr/>
              <p:nvPr/>
            </p:nvSpPr>
            <p:spPr>
              <a:xfrm>
                <a:off x="2347639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9" name="Oval 518"/>
              <p:cNvSpPr/>
              <p:nvPr/>
            </p:nvSpPr>
            <p:spPr>
              <a:xfrm>
                <a:off x="2414224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0" name="Oval 519"/>
              <p:cNvSpPr/>
              <p:nvPr/>
            </p:nvSpPr>
            <p:spPr>
              <a:xfrm>
                <a:off x="248987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1" name="Oval 520"/>
              <p:cNvSpPr/>
              <p:nvPr/>
            </p:nvSpPr>
            <p:spPr>
              <a:xfrm>
                <a:off x="2576544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2" name="Oval 521"/>
              <p:cNvSpPr/>
              <p:nvPr/>
            </p:nvSpPr>
            <p:spPr>
              <a:xfrm>
                <a:off x="2643128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3" name="Oval 522"/>
              <p:cNvSpPr/>
              <p:nvPr/>
            </p:nvSpPr>
            <p:spPr>
              <a:xfrm>
                <a:off x="2728943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4" name="Oval 523"/>
              <p:cNvSpPr/>
              <p:nvPr/>
            </p:nvSpPr>
            <p:spPr>
              <a:xfrm>
                <a:off x="2823186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5" name="Oval 524"/>
              <p:cNvSpPr/>
              <p:nvPr/>
            </p:nvSpPr>
            <p:spPr>
              <a:xfrm>
                <a:off x="2889770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6" name="Oval 525"/>
              <p:cNvSpPr/>
              <p:nvPr/>
            </p:nvSpPr>
            <p:spPr>
              <a:xfrm>
                <a:off x="2956354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7" name="Oval 526"/>
              <p:cNvSpPr/>
              <p:nvPr/>
            </p:nvSpPr>
            <p:spPr>
              <a:xfrm>
                <a:off x="3022939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8" name="Oval 527"/>
              <p:cNvSpPr/>
              <p:nvPr/>
            </p:nvSpPr>
            <p:spPr>
              <a:xfrm>
                <a:off x="3098593" y="6243637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9" name="Oval 528"/>
              <p:cNvSpPr/>
              <p:nvPr/>
            </p:nvSpPr>
            <p:spPr>
              <a:xfrm>
                <a:off x="3185259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0" name="Oval 529"/>
              <p:cNvSpPr/>
              <p:nvPr/>
            </p:nvSpPr>
            <p:spPr>
              <a:xfrm>
                <a:off x="3251843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1" name="Oval 530"/>
              <p:cNvSpPr/>
              <p:nvPr/>
            </p:nvSpPr>
            <p:spPr>
              <a:xfrm>
                <a:off x="3337658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2" name="Oval 531"/>
              <p:cNvSpPr/>
              <p:nvPr/>
            </p:nvSpPr>
            <p:spPr>
              <a:xfrm>
                <a:off x="3042170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3" name="Oval 532"/>
              <p:cNvSpPr/>
              <p:nvPr/>
            </p:nvSpPr>
            <p:spPr>
              <a:xfrm>
                <a:off x="3108754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4" name="Oval 533"/>
              <p:cNvSpPr/>
              <p:nvPr/>
            </p:nvSpPr>
            <p:spPr>
              <a:xfrm>
                <a:off x="317533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5" name="Oval 534"/>
              <p:cNvSpPr/>
              <p:nvPr/>
            </p:nvSpPr>
            <p:spPr>
              <a:xfrm>
                <a:off x="3241923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6" name="Oval 535"/>
              <p:cNvSpPr/>
              <p:nvPr/>
            </p:nvSpPr>
            <p:spPr>
              <a:xfrm>
                <a:off x="3317577" y="6242684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7" name="Oval 536"/>
              <p:cNvSpPr/>
              <p:nvPr/>
            </p:nvSpPr>
            <p:spPr>
              <a:xfrm>
                <a:off x="3404243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8" name="Oval 537"/>
              <p:cNvSpPr/>
              <p:nvPr/>
            </p:nvSpPr>
            <p:spPr>
              <a:xfrm>
                <a:off x="3470827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9" name="Oval 538"/>
              <p:cNvSpPr/>
              <p:nvPr/>
            </p:nvSpPr>
            <p:spPr>
              <a:xfrm>
                <a:off x="3556642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0" name="Oval 539"/>
              <p:cNvSpPr/>
              <p:nvPr/>
            </p:nvSpPr>
            <p:spPr>
              <a:xfrm>
                <a:off x="2362019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1" name="Oval 540"/>
              <p:cNvSpPr/>
              <p:nvPr/>
            </p:nvSpPr>
            <p:spPr>
              <a:xfrm>
                <a:off x="2428603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2" name="Oval 541"/>
              <p:cNvSpPr/>
              <p:nvPr/>
            </p:nvSpPr>
            <p:spPr>
              <a:xfrm>
                <a:off x="2495187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3" name="Oval 542"/>
              <p:cNvSpPr/>
              <p:nvPr/>
            </p:nvSpPr>
            <p:spPr>
              <a:xfrm>
                <a:off x="2561772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4" name="Oval 543"/>
              <p:cNvSpPr/>
              <p:nvPr/>
            </p:nvSpPr>
            <p:spPr>
              <a:xfrm>
                <a:off x="2637426" y="623125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5" name="Oval 544"/>
              <p:cNvSpPr/>
              <p:nvPr/>
            </p:nvSpPr>
            <p:spPr>
              <a:xfrm>
                <a:off x="2724092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6" name="Oval 545"/>
              <p:cNvSpPr/>
              <p:nvPr/>
            </p:nvSpPr>
            <p:spPr>
              <a:xfrm>
                <a:off x="2790676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7" name="Oval 546"/>
              <p:cNvSpPr/>
              <p:nvPr/>
            </p:nvSpPr>
            <p:spPr>
              <a:xfrm>
                <a:off x="2876491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14" name="Isosceles Triangle 513"/>
            <p:cNvSpPr/>
            <p:nvPr/>
          </p:nvSpPr>
          <p:spPr>
            <a:xfrm>
              <a:off x="6457288" y="4499462"/>
              <a:ext cx="1700679" cy="144456"/>
            </a:xfrm>
            <a:prstGeom prst="triangle">
              <a:avLst>
                <a:gd name="adj" fmla="val 0"/>
              </a:avLst>
            </a:prstGeom>
            <a:solidFill>
              <a:srgbClr val="542A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5" name="Rectangle 514"/>
            <p:cNvSpPr/>
            <p:nvPr/>
          </p:nvSpPr>
          <p:spPr>
            <a:xfrm>
              <a:off x="6469013" y="3997710"/>
              <a:ext cx="1688955" cy="650490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552" name="Group 551"/>
          <p:cNvGrpSpPr/>
          <p:nvPr/>
        </p:nvGrpSpPr>
        <p:grpSpPr>
          <a:xfrm>
            <a:off x="4064907" y="5326873"/>
            <a:ext cx="4607646" cy="1314090"/>
            <a:chOff x="4079154" y="3334110"/>
            <a:chExt cx="4607646" cy="1314090"/>
          </a:xfrm>
        </p:grpSpPr>
        <p:sp>
          <p:nvSpPr>
            <p:cNvPr id="553" name="Rectangle 552"/>
            <p:cNvSpPr/>
            <p:nvPr/>
          </p:nvSpPr>
          <p:spPr>
            <a:xfrm>
              <a:off x="4183575" y="3584281"/>
              <a:ext cx="1723257" cy="413430"/>
            </a:xfrm>
            <a:prstGeom prst="rect">
              <a:avLst/>
            </a:prstGeom>
            <a:pattFill prst="ltDnDiag">
              <a:fgClr>
                <a:sysClr val="windowText" lastClr="000000"/>
              </a:fgClr>
              <a:bgClr>
                <a:sysClr val="window" lastClr="FFFFFF"/>
              </a:bgClr>
            </a:pattFill>
            <a:ln w="25400" cap="flat" cmpd="sng" algn="ctr">
              <a:solidFill>
                <a:sysClr val="window" lastClr="FFFFFF">
                  <a:lumMod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554" name="Straight Connector 553"/>
            <p:cNvCxnSpPr/>
            <p:nvPr/>
          </p:nvCxnSpPr>
          <p:spPr>
            <a:xfrm>
              <a:off x="4079154" y="3997710"/>
              <a:ext cx="4607646" cy="0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</p:cxnSp>
        <p:sp>
          <p:nvSpPr>
            <p:cNvPr id="555" name="Rectangle 554"/>
            <p:cNvSpPr/>
            <p:nvPr/>
          </p:nvSpPr>
          <p:spPr>
            <a:xfrm>
              <a:off x="6469012" y="4143824"/>
              <a:ext cx="1688955" cy="504376"/>
            </a:xfrm>
            <a:prstGeom prst="rect">
              <a:avLst/>
            </a:prstGeom>
            <a:solidFill>
              <a:srgbClr val="FFC0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556" name="Elbow Connector 646"/>
            <p:cNvCxnSpPr/>
            <p:nvPr/>
          </p:nvCxnSpPr>
          <p:spPr>
            <a:xfrm flipH="1">
              <a:off x="7864732" y="4352305"/>
              <a:ext cx="719736" cy="629"/>
            </a:xfrm>
            <a:prstGeom prst="straightConnector1">
              <a:avLst/>
            </a:prstGeom>
            <a:noFill/>
            <a:ln w="161925" cap="flat" cmpd="dbl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</p:cxnSp>
        <p:sp>
          <p:nvSpPr>
            <p:cNvPr id="557" name="Freeform 556"/>
            <p:cNvSpPr/>
            <p:nvPr/>
          </p:nvSpPr>
          <p:spPr>
            <a:xfrm>
              <a:off x="4441074" y="3561383"/>
              <a:ext cx="1263641" cy="582439"/>
            </a:xfrm>
            <a:custGeom>
              <a:avLst/>
              <a:gdLst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185737 w 942975"/>
                <a:gd name="connsiteY11" fmla="*/ 109538 h 395288"/>
                <a:gd name="connsiteX12" fmla="*/ 42862 w 942975"/>
                <a:gd name="connsiteY12" fmla="*/ 90488 h 395288"/>
                <a:gd name="connsiteX13" fmla="*/ 0 w 942975"/>
                <a:gd name="connsiteY13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185737 w 942975"/>
                <a:gd name="connsiteY11" fmla="*/ 109538 h 395288"/>
                <a:gd name="connsiteX12" fmla="*/ 0 w 942975"/>
                <a:gd name="connsiteY12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185737 w 942975"/>
                <a:gd name="connsiteY11" fmla="*/ 109538 h 395288"/>
                <a:gd name="connsiteX12" fmla="*/ 0 w 942975"/>
                <a:gd name="connsiteY12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481012 w 942975"/>
                <a:gd name="connsiteY9" fmla="*/ 219075 h 395288"/>
                <a:gd name="connsiteX10" fmla="*/ 342900 w 942975"/>
                <a:gd name="connsiteY10" fmla="*/ 142875 h 395288"/>
                <a:gd name="connsiteX11" fmla="*/ 0 w 942975"/>
                <a:gd name="connsiteY11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919162 w 942975"/>
                <a:gd name="connsiteY2" fmla="*/ 123825 h 395288"/>
                <a:gd name="connsiteX3" fmla="*/ 814387 w 942975"/>
                <a:gd name="connsiteY3" fmla="*/ 200025 h 395288"/>
                <a:gd name="connsiteX4" fmla="*/ 781050 w 942975"/>
                <a:gd name="connsiteY4" fmla="*/ 257175 h 395288"/>
                <a:gd name="connsiteX5" fmla="*/ 809625 w 942975"/>
                <a:gd name="connsiteY5" fmla="*/ 395288 h 395288"/>
                <a:gd name="connsiteX6" fmla="*/ 700087 w 942975"/>
                <a:gd name="connsiteY6" fmla="*/ 395288 h 395288"/>
                <a:gd name="connsiteX7" fmla="*/ 700087 w 942975"/>
                <a:gd name="connsiteY7" fmla="*/ 257175 h 395288"/>
                <a:gd name="connsiteX8" fmla="*/ 600075 w 942975"/>
                <a:gd name="connsiteY8" fmla="*/ 242888 h 395288"/>
                <a:gd name="connsiteX9" fmla="*/ 342900 w 942975"/>
                <a:gd name="connsiteY9" fmla="*/ 142875 h 395288"/>
                <a:gd name="connsiteX10" fmla="*/ 0 w 942975"/>
                <a:gd name="connsiteY10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814387 w 942975"/>
                <a:gd name="connsiteY2" fmla="*/ 200025 h 395288"/>
                <a:gd name="connsiteX3" fmla="*/ 781050 w 942975"/>
                <a:gd name="connsiteY3" fmla="*/ 257175 h 395288"/>
                <a:gd name="connsiteX4" fmla="*/ 809625 w 942975"/>
                <a:gd name="connsiteY4" fmla="*/ 395288 h 395288"/>
                <a:gd name="connsiteX5" fmla="*/ 700087 w 942975"/>
                <a:gd name="connsiteY5" fmla="*/ 395288 h 395288"/>
                <a:gd name="connsiteX6" fmla="*/ 700087 w 942975"/>
                <a:gd name="connsiteY6" fmla="*/ 257175 h 395288"/>
                <a:gd name="connsiteX7" fmla="*/ 600075 w 942975"/>
                <a:gd name="connsiteY7" fmla="*/ 242888 h 395288"/>
                <a:gd name="connsiteX8" fmla="*/ 342900 w 942975"/>
                <a:gd name="connsiteY8" fmla="*/ 142875 h 395288"/>
                <a:gd name="connsiteX9" fmla="*/ 0 w 942975"/>
                <a:gd name="connsiteY9" fmla="*/ 0 h 395288"/>
                <a:gd name="connsiteX0" fmla="*/ 0 w 942975"/>
                <a:gd name="connsiteY0" fmla="*/ 0 h 395288"/>
                <a:gd name="connsiteX1" fmla="*/ 942975 w 942975"/>
                <a:gd name="connsiteY1" fmla="*/ 0 h 395288"/>
                <a:gd name="connsiteX2" fmla="*/ 814387 w 942975"/>
                <a:gd name="connsiteY2" fmla="*/ 200025 h 395288"/>
                <a:gd name="connsiteX3" fmla="*/ 781050 w 942975"/>
                <a:gd name="connsiteY3" fmla="*/ 257175 h 395288"/>
                <a:gd name="connsiteX4" fmla="*/ 809625 w 942975"/>
                <a:gd name="connsiteY4" fmla="*/ 395288 h 395288"/>
                <a:gd name="connsiteX5" fmla="*/ 700087 w 942975"/>
                <a:gd name="connsiteY5" fmla="*/ 395288 h 395288"/>
                <a:gd name="connsiteX6" fmla="*/ 700087 w 942975"/>
                <a:gd name="connsiteY6" fmla="*/ 257175 h 395288"/>
                <a:gd name="connsiteX7" fmla="*/ 600075 w 942975"/>
                <a:gd name="connsiteY7" fmla="*/ 242888 h 395288"/>
                <a:gd name="connsiteX8" fmla="*/ 342900 w 942975"/>
                <a:gd name="connsiteY8" fmla="*/ 142875 h 395288"/>
                <a:gd name="connsiteX9" fmla="*/ 0 w 942975"/>
                <a:gd name="connsiteY9" fmla="*/ 0 h 395288"/>
                <a:gd name="connsiteX0" fmla="*/ 0 w 978298"/>
                <a:gd name="connsiteY0" fmla="*/ 0 h 395288"/>
                <a:gd name="connsiteX1" fmla="*/ 942975 w 978298"/>
                <a:gd name="connsiteY1" fmla="*/ 0 h 395288"/>
                <a:gd name="connsiteX2" fmla="*/ 781050 w 978298"/>
                <a:gd name="connsiteY2" fmla="*/ 257175 h 395288"/>
                <a:gd name="connsiteX3" fmla="*/ 809625 w 978298"/>
                <a:gd name="connsiteY3" fmla="*/ 395288 h 395288"/>
                <a:gd name="connsiteX4" fmla="*/ 700087 w 978298"/>
                <a:gd name="connsiteY4" fmla="*/ 395288 h 395288"/>
                <a:gd name="connsiteX5" fmla="*/ 700087 w 978298"/>
                <a:gd name="connsiteY5" fmla="*/ 257175 h 395288"/>
                <a:gd name="connsiteX6" fmla="*/ 600075 w 978298"/>
                <a:gd name="connsiteY6" fmla="*/ 242888 h 395288"/>
                <a:gd name="connsiteX7" fmla="*/ 342900 w 978298"/>
                <a:gd name="connsiteY7" fmla="*/ 142875 h 395288"/>
                <a:gd name="connsiteX8" fmla="*/ 0 w 978298"/>
                <a:gd name="connsiteY8" fmla="*/ 0 h 395288"/>
                <a:gd name="connsiteX0" fmla="*/ 0 w 983635"/>
                <a:gd name="connsiteY0" fmla="*/ 0 h 395288"/>
                <a:gd name="connsiteX1" fmla="*/ 942975 w 983635"/>
                <a:gd name="connsiteY1" fmla="*/ 0 h 395288"/>
                <a:gd name="connsiteX2" fmla="*/ 781050 w 983635"/>
                <a:gd name="connsiteY2" fmla="*/ 257175 h 395288"/>
                <a:gd name="connsiteX3" fmla="*/ 809625 w 983635"/>
                <a:gd name="connsiteY3" fmla="*/ 395288 h 395288"/>
                <a:gd name="connsiteX4" fmla="*/ 700087 w 983635"/>
                <a:gd name="connsiteY4" fmla="*/ 395288 h 395288"/>
                <a:gd name="connsiteX5" fmla="*/ 700087 w 983635"/>
                <a:gd name="connsiteY5" fmla="*/ 257175 h 395288"/>
                <a:gd name="connsiteX6" fmla="*/ 600075 w 983635"/>
                <a:gd name="connsiteY6" fmla="*/ 242888 h 395288"/>
                <a:gd name="connsiteX7" fmla="*/ 342900 w 983635"/>
                <a:gd name="connsiteY7" fmla="*/ 142875 h 395288"/>
                <a:gd name="connsiteX8" fmla="*/ 0 w 983635"/>
                <a:gd name="connsiteY8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600075 w 943838"/>
                <a:gd name="connsiteY6" fmla="*/ 242888 h 395288"/>
                <a:gd name="connsiteX7" fmla="*/ 342900 w 943838"/>
                <a:gd name="connsiteY7" fmla="*/ 142875 h 395288"/>
                <a:gd name="connsiteX8" fmla="*/ 0 w 943838"/>
                <a:gd name="connsiteY8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342900 w 943838"/>
                <a:gd name="connsiteY6" fmla="*/ 142875 h 395288"/>
                <a:gd name="connsiteX7" fmla="*/ 0 w 943838"/>
                <a:gd name="connsiteY7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342900 w 943838"/>
                <a:gd name="connsiteY6" fmla="*/ 142875 h 395288"/>
                <a:gd name="connsiteX7" fmla="*/ 0 w 943838"/>
                <a:gd name="connsiteY7" fmla="*/ 0 h 395288"/>
                <a:gd name="connsiteX0" fmla="*/ 0 w 943838"/>
                <a:gd name="connsiteY0" fmla="*/ 0 h 395288"/>
                <a:gd name="connsiteX1" fmla="*/ 942975 w 943838"/>
                <a:gd name="connsiteY1" fmla="*/ 0 h 395288"/>
                <a:gd name="connsiteX2" fmla="*/ 781050 w 943838"/>
                <a:gd name="connsiteY2" fmla="*/ 257175 h 395288"/>
                <a:gd name="connsiteX3" fmla="*/ 809625 w 943838"/>
                <a:gd name="connsiteY3" fmla="*/ 395288 h 395288"/>
                <a:gd name="connsiteX4" fmla="*/ 700087 w 943838"/>
                <a:gd name="connsiteY4" fmla="*/ 395288 h 395288"/>
                <a:gd name="connsiteX5" fmla="*/ 700087 w 943838"/>
                <a:gd name="connsiteY5" fmla="*/ 257175 h 395288"/>
                <a:gd name="connsiteX6" fmla="*/ 342900 w 943838"/>
                <a:gd name="connsiteY6" fmla="*/ 142875 h 395288"/>
                <a:gd name="connsiteX7" fmla="*/ 0 w 943838"/>
                <a:gd name="connsiteY7" fmla="*/ 0 h 395288"/>
                <a:gd name="connsiteX0" fmla="*/ 0 w 944114"/>
                <a:gd name="connsiteY0" fmla="*/ 0 h 395288"/>
                <a:gd name="connsiteX1" fmla="*/ 942975 w 944114"/>
                <a:gd name="connsiteY1" fmla="*/ 0 h 395288"/>
                <a:gd name="connsiteX2" fmla="*/ 807480 w 944114"/>
                <a:gd name="connsiteY2" fmla="*/ 254472 h 395288"/>
                <a:gd name="connsiteX3" fmla="*/ 809625 w 944114"/>
                <a:gd name="connsiteY3" fmla="*/ 395288 h 395288"/>
                <a:gd name="connsiteX4" fmla="*/ 700087 w 944114"/>
                <a:gd name="connsiteY4" fmla="*/ 395288 h 395288"/>
                <a:gd name="connsiteX5" fmla="*/ 700087 w 944114"/>
                <a:gd name="connsiteY5" fmla="*/ 257175 h 395288"/>
                <a:gd name="connsiteX6" fmla="*/ 342900 w 944114"/>
                <a:gd name="connsiteY6" fmla="*/ 142875 h 395288"/>
                <a:gd name="connsiteX7" fmla="*/ 0 w 944114"/>
                <a:gd name="connsiteY7" fmla="*/ 0 h 395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44114" h="395288">
                  <a:moveTo>
                    <a:pt x="0" y="0"/>
                  </a:moveTo>
                  <a:lnTo>
                    <a:pt x="942975" y="0"/>
                  </a:lnTo>
                  <a:cubicBezTo>
                    <a:pt x="954088" y="138112"/>
                    <a:pt x="882092" y="188591"/>
                    <a:pt x="807480" y="254472"/>
                  </a:cubicBezTo>
                  <a:lnTo>
                    <a:pt x="809625" y="395288"/>
                  </a:lnTo>
                  <a:lnTo>
                    <a:pt x="700087" y="395288"/>
                  </a:lnTo>
                  <a:lnTo>
                    <a:pt x="700087" y="257175"/>
                  </a:lnTo>
                  <a:cubicBezTo>
                    <a:pt x="514350" y="233363"/>
                    <a:pt x="476249" y="195262"/>
                    <a:pt x="342900" y="142875"/>
                  </a:cubicBezTo>
                  <a:cubicBezTo>
                    <a:pt x="214313" y="123826"/>
                    <a:pt x="47625" y="128588"/>
                    <a:pt x="0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8" name="Rectangle 557"/>
            <p:cNvSpPr/>
            <p:nvPr/>
          </p:nvSpPr>
          <p:spPr>
            <a:xfrm>
              <a:off x="4775215" y="3491787"/>
              <a:ext cx="411652" cy="64870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9" name="Freeform 558"/>
            <p:cNvSpPr/>
            <p:nvPr/>
          </p:nvSpPr>
          <p:spPr>
            <a:xfrm>
              <a:off x="4140708" y="3334110"/>
              <a:ext cx="370292" cy="242914"/>
            </a:xfrm>
            <a:custGeom>
              <a:avLst/>
              <a:gdLst>
                <a:gd name="connsiteX0" fmla="*/ 0 w 516732"/>
                <a:gd name="connsiteY0" fmla="*/ 42862 h 392906"/>
                <a:gd name="connsiteX1" fmla="*/ 359569 w 516732"/>
                <a:gd name="connsiteY1" fmla="*/ 0 h 392906"/>
                <a:gd name="connsiteX2" fmla="*/ 359569 w 516732"/>
                <a:gd name="connsiteY2" fmla="*/ 9525 h 392906"/>
                <a:gd name="connsiteX3" fmla="*/ 404813 w 516732"/>
                <a:gd name="connsiteY3" fmla="*/ 19050 h 392906"/>
                <a:gd name="connsiteX4" fmla="*/ 516732 w 516732"/>
                <a:gd name="connsiteY4" fmla="*/ 273844 h 392906"/>
                <a:gd name="connsiteX5" fmla="*/ 490538 w 516732"/>
                <a:gd name="connsiteY5" fmla="*/ 285750 h 392906"/>
                <a:gd name="connsiteX6" fmla="*/ 383382 w 516732"/>
                <a:gd name="connsiteY6" fmla="*/ 52387 h 392906"/>
                <a:gd name="connsiteX7" fmla="*/ 350044 w 516732"/>
                <a:gd name="connsiteY7" fmla="*/ 54769 h 392906"/>
                <a:gd name="connsiteX8" fmla="*/ 340519 w 516732"/>
                <a:gd name="connsiteY8" fmla="*/ 83344 h 392906"/>
                <a:gd name="connsiteX9" fmla="*/ 335757 w 516732"/>
                <a:gd name="connsiteY9" fmla="*/ 388144 h 392906"/>
                <a:gd name="connsiteX10" fmla="*/ 104775 w 516732"/>
                <a:gd name="connsiteY10" fmla="*/ 392906 h 392906"/>
                <a:gd name="connsiteX11" fmla="*/ 57150 w 516732"/>
                <a:gd name="connsiteY11" fmla="*/ 83344 h 392906"/>
                <a:gd name="connsiteX12" fmla="*/ 0 w 516732"/>
                <a:gd name="connsiteY12" fmla="*/ 42862 h 3929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6732" h="392906">
                  <a:moveTo>
                    <a:pt x="0" y="42862"/>
                  </a:moveTo>
                  <a:lnTo>
                    <a:pt x="359569" y="0"/>
                  </a:lnTo>
                  <a:lnTo>
                    <a:pt x="359569" y="9525"/>
                  </a:lnTo>
                  <a:lnTo>
                    <a:pt x="404813" y="19050"/>
                  </a:lnTo>
                  <a:cubicBezTo>
                    <a:pt x="442414" y="103851"/>
                    <a:pt x="516732" y="181080"/>
                    <a:pt x="516732" y="273844"/>
                  </a:cubicBezTo>
                  <a:lnTo>
                    <a:pt x="490538" y="285750"/>
                  </a:lnTo>
                  <a:lnTo>
                    <a:pt x="383382" y="52387"/>
                  </a:lnTo>
                  <a:lnTo>
                    <a:pt x="350044" y="54769"/>
                  </a:lnTo>
                  <a:lnTo>
                    <a:pt x="340519" y="83344"/>
                  </a:lnTo>
                  <a:cubicBezTo>
                    <a:pt x="338932" y="184944"/>
                    <a:pt x="337344" y="286544"/>
                    <a:pt x="335757" y="388144"/>
                  </a:cubicBezTo>
                  <a:lnTo>
                    <a:pt x="104775" y="392906"/>
                  </a:lnTo>
                  <a:lnTo>
                    <a:pt x="57150" y="83344"/>
                  </a:lnTo>
                  <a:lnTo>
                    <a:pt x="0" y="42862"/>
                  </a:lnTo>
                  <a:close/>
                </a:path>
              </a:pathLst>
            </a:custGeom>
            <a:solidFill>
              <a:srgbClr val="F79646">
                <a:lumMod val="60000"/>
                <a:lumOff val="40000"/>
              </a:srgbClr>
            </a:solidFill>
            <a:ln w="9525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endParaRPr>
            </a:p>
          </p:txBody>
        </p:sp>
        <p:sp>
          <p:nvSpPr>
            <p:cNvPr id="560" name="Rectangle 559"/>
            <p:cNvSpPr/>
            <p:nvPr/>
          </p:nvSpPr>
          <p:spPr>
            <a:xfrm>
              <a:off x="6579952" y="4151908"/>
              <a:ext cx="95981" cy="308489"/>
            </a:xfrm>
            <a:prstGeom prst="rect">
              <a:avLst/>
            </a:prstGeom>
            <a:solidFill>
              <a:srgbClr val="FFDB6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561" name="Group 560"/>
            <p:cNvGrpSpPr/>
            <p:nvPr/>
          </p:nvGrpSpPr>
          <p:grpSpPr>
            <a:xfrm>
              <a:off x="6483271" y="4051294"/>
              <a:ext cx="1662262" cy="186364"/>
              <a:chOff x="2214471" y="6226491"/>
              <a:chExt cx="1475340" cy="143352"/>
            </a:xfrm>
          </p:grpSpPr>
          <p:sp>
            <p:nvSpPr>
              <p:cNvPr id="565" name="Oval 564"/>
              <p:cNvSpPr/>
              <p:nvPr/>
            </p:nvSpPr>
            <p:spPr>
              <a:xfrm>
                <a:off x="2214471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6" name="Oval 565"/>
              <p:cNvSpPr/>
              <p:nvPr/>
            </p:nvSpPr>
            <p:spPr>
              <a:xfrm>
                <a:off x="2281055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7" name="Oval 566"/>
              <p:cNvSpPr/>
              <p:nvPr/>
            </p:nvSpPr>
            <p:spPr>
              <a:xfrm>
                <a:off x="2347639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8" name="Oval 567"/>
              <p:cNvSpPr/>
              <p:nvPr/>
            </p:nvSpPr>
            <p:spPr>
              <a:xfrm>
                <a:off x="2414224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9" name="Oval 568"/>
              <p:cNvSpPr/>
              <p:nvPr/>
            </p:nvSpPr>
            <p:spPr>
              <a:xfrm>
                <a:off x="248987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0" name="Oval 569"/>
              <p:cNvSpPr/>
              <p:nvPr/>
            </p:nvSpPr>
            <p:spPr>
              <a:xfrm>
                <a:off x="2576544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1" name="Oval 570"/>
              <p:cNvSpPr/>
              <p:nvPr/>
            </p:nvSpPr>
            <p:spPr>
              <a:xfrm>
                <a:off x="2643128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2" name="Oval 571"/>
              <p:cNvSpPr/>
              <p:nvPr/>
            </p:nvSpPr>
            <p:spPr>
              <a:xfrm>
                <a:off x="2728943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3" name="Oval 572"/>
              <p:cNvSpPr/>
              <p:nvPr/>
            </p:nvSpPr>
            <p:spPr>
              <a:xfrm>
                <a:off x="2823186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4" name="Oval 573"/>
              <p:cNvSpPr/>
              <p:nvPr/>
            </p:nvSpPr>
            <p:spPr>
              <a:xfrm>
                <a:off x="2889770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5" name="Oval 574"/>
              <p:cNvSpPr/>
              <p:nvPr/>
            </p:nvSpPr>
            <p:spPr>
              <a:xfrm>
                <a:off x="2956354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6" name="Oval 575"/>
              <p:cNvSpPr/>
              <p:nvPr/>
            </p:nvSpPr>
            <p:spPr>
              <a:xfrm>
                <a:off x="3022939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7" name="Oval 576"/>
              <p:cNvSpPr/>
              <p:nvPr/>
            </p:nvSpPr>
            <p:spPr>
              <a:xfrm>
                <a:off x="3098593" y="6243637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8" name="Oval 577"/>
              <p:cNvSpPr/>
              <p:nvPr/>
            </p:nvSpPr>
            <p:spPr>
              <a:xfrm>
                <a:off x="3185259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9" name="Oval 578"/>
              <p:cNvSpPr/>
              <p:nvPr/>
            </p:nvSpPr>
            <p:spPr>
              <a:xfrm>
                <a:off x="3251843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0" name="Oval 579"/>
              <p:cNvSpPr/>
              <p:nvPr/>
            </p:nvSpPr>
            <p:spPr>
              <a:xfrm>
                <a:off x="3337658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1" name="Oval 580"/>
              <p:cNvSpPr/>
              <p:nvPr/>
            </p:nvSpPr>
            <p:spPr>
              <a:xfrm>
                <a:off x="3042170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2" name="Oval 581"/>
              <p:cNvSpPr/>
              <p:nvPr/>
            </p:nvSpPr>
            <p:spPr>
              <a:xfrm>
                <a:off x="3108754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3" name="Oval 582"/>
              <p:cNvSpPr/>
              <p:nvPr/>
            </p:nvSpPr>
            <p:spPr>
              <a:xfrm>
                <a:off x="317533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4" name="Oval 583"/>
              <p:cNvSpPr/>
              <p:nvPr/>
            </p:nvSpPr>
            <p:spPr>
              <a:xfrm>
                <a:off x="3241923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5" name="Oval 584"/>
              <p:cNvSpPr/>
              <p:nvPr/>
            </p:nvSpPr>
            <p:spPr>
              <a:xfrm>
                <a:off x="3317577" y="6242684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6" name="Oval 585"/>
              <p:cNvSpPr/>
              <p:nvPr/>
            </p:nvSpPr>
            <p:spPr>
              <a:xfrm>
                <a:off x="3404243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7" name="Oval 586"/>
              <p:cNvSpPr/>
              <p:nvPr/>
            </p:nvSpPr>
            <p:spPr>
              <a:xfrm>
                <a:off x="3470827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8" name="Oval 587"/>
              <p:cNvSpPr/>
              <p:nvPr/>
            </p:nvSpPr>
            <p:spPr>
              <a:xfrm>
                <a:off x="3556642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9" name="Oval 588"/>
              <p:cNvSpPr/>
              <p:nvPr/>
            </p:nvSpPr>
            <p:spPr>
              <a:xfrm>
                <a:off x="2362019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0" name="Oval 589"/>
              <p:cNvSpPr/>
              <p:nvPr/>
            </p:nvSpPr>
            <p:spPr>
              <a:xfrm>
                <a:off x="2428603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1" name="Oval 590"/>
              <p:cNvSpPr/>
              <p:nvPr/>
            </p:nvSpPr>
            <p:spPr>
              <a:xfrm>
                <a:off x="2495187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2" name="Oval 591"/>
              <p:cNvSpPr/>
              <p:nvPr/>
            </p:nvSpPr>
            <p:spPr>
              <a:xfrm>
                <a:off x="2561772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3" name="Oval 592"/>
              <p:cNvSpPr/>
              <p:nvPr/>
            </p:nvSpPr>
            <p:spPr>
              <a:xfrm>
                <a:off x="2637426" y="623125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4" name="Oval 593"/>
              <p:cNvSpPr/>
              <p:nvPr/>
            </p:nvSpPr>
            <p:spPr>
              <a:xfrm>
                <a:off x="2724092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5" name="Oval 594"/>
              <p:cNvSpPr/>
              <p:nvPr/>
            </p:nvSpPr>
            <p:spPr>
              <a:xfrm>
                <a:off x="2790676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6" name="Oval 595"/>
              <p:cNvSpPr/>
              <p:nvPr/>
            </p:nvSpPr>
            <p:spPr>
              <a:xfrm>
                <a:off x="2876491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562" name="Isosceles Triangle 561"/>
            <p:cNvSpPr/>
            <p:nvPr/>
          </p:nvSpPr>
          <p:spPr>
            <a:xfrm>
              <a:off x="6457288" y="4499462"/>
              <a:ext cx="1700679" cy="144455"/>
            </a:xfrm>
            <a:prstGeom prst="triangle">
              <a:avLst>
                <a:gd name="adj" fmla="val 0"/>
              </a:avLst>
            </a:prstGeom>
            <a:solidFill>
              <a:srgbClr val="542A00">
                <a:alpha val="59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3" name="Bent Arrow 562"/>
            <p:cNvSpPr/>
            <p:nvPr/>
          </p:nvSpPr>
          <p:spPr>
            <a:xfrm flipV="1">
              <a:off x="5373881" y="4082967"/>
              <a:ext cx="1267522" cy="309381"/>
            </a:xfrm>
            <a:prstGeom prst="bentArrow">
              <a:avLst>
                <a:gd name="adj1" fmla="val 48655"/>
                <a:gd name="adj2" fmla="val 35872"/>
                <a:gd name="adj3" fmla="val 4012"/>
                <a:gd name="adj4" fmla="val 43750"/>
              </a:avLst>
            </a:prstGeom>
            <a:solidFill>
              <a:srgbClr val="4BACC6">
                <a:lumMod val="60000"/>
                <a:lumOff val="40000"/>
              </a:srgbClr>
            </a:solidFill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dash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4" name="Rectangle 563"/>
            <p:cNvSpPr/>
            <p:nvPr/>
          </p:nvSpPr>
          <p:spPr>
            <a:xfrm>
              <a:off x="6469013" y="3997710"/>
              <a:ext cx="1688955" cy="650490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>
                  <a:lumMod val="50000"/>
                  <a:lumOff val="50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97" name="Straight Connector 596"/>
          <p:cNvCxnSpPr/>
          <p:nvPr/>
        </p:nvCxnSpPr>
        <p:spPr>
          <a:xfrm>
            <a:off x="6579952" y="6018344"/>
            <a:ext cx="0" cy="413010"/>
          </a:xfrm>
          <a:prstGeom prst="line">
            <a:avLst/>
          </a:prstGeom>
          <a:noFill/>
          <a:ln w="161925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598" name="Straight Connector 597"/>
          <p:cNvCxnSpPr/>
          <p:nvPr/>
        </p:nvCxnSpPr>
        <p:spPr>
          <a:xfrm>
            <a:off x="7801158" y="6018344"/>
            <a:ext cx="0" cy="473881"/>
          </a:xfrm>
          <a:prstGeom prst="line">
            <a:avLst/>
          </a:prstGeom>
          <a:noFill/>
          <a:ln w="161925" cap="flat" cmpd="dbl" algn="ctr">
            <a:solidFill>
              <a:sysClr val="windowText" lastClr="000000"/>
            </a:solidFill>
            <a:prstDash val="solid"/>
          </a:ln>
          <a:effectLst/>
        </p:spPr>
      </p:cxnSp>
      <p:cxnSp>
        <p:nvCxnSpPr>
          <p:cNvPr id="4" name="Straight Connector 3"/>
          <p:cNvCxnSpPr/>
          <p:nvPr/>
        </p:nvCxnSpPr>
        <p:spPr>
          <a:xfrm>
            <a:off x="3733800" y="4867726"/>
            <a:ext cx="528540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Rectangle 281"/>
          <p:cNvSpPr/>
          <p:nvPr/>
        </p:nvSpPr>
        <p:spPr>
          <a:xfrm>
            <a:off x="4066950" y="4876800"/>
            <a:ext cx="41056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spcBef>
                <a:spcPts val="600"/>
              </a:spcBef>
              <a:defRPr/>
            </a:pP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घन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दार्थांचा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परतावा टाळण्यासाठी</a:t>
            </a:r>
            <a:r>
              <a:rPr lang="hi-IN" dirty="0" smtClean="0">
                <a:solidFill>
                  <a:srgbClr val="FF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dirty="0" smtClean="0">
                <a:solidFill>
                  <a:srgbClr val="FF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ॅफल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ठेवा</a:t>
            </a:r>
            <a:endParaRPr lang="en-US" sz="1900" kern="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83" name="Rectangle 282"/>
          <p:cNvSpPr/>
          <p:nvPr/>
        </p:nvSpPr>
        <p:spPr>
          <a:xfrm>
            <a:off x="152400" y="6705600"/>
            <a:ext cx="912955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800" dirty="0" smtClean="0">
                <a:solidFill>
                  <a:srgbClr val="FF0000"/>
                </a:solidFill>
              </a:rPr>
              <a:t>स्त्रोत: महाराष्ट्रातील नगर पंचायत व नगर परिषद – विकास नियंत्रण व प्रसार</a:t>
            </a:r>
            <a:endParaRPr lang="en-US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73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ुधारित सेप्टिक टाकी</a:t>
            </a:r>
            <a:endParaRPr lang="en-US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183840" y="838199"/>
            <a:ext cx="8731560" cy="5715001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609600" y="1143000"/>
            <a:ext cx="7838223" cy="3276601"/>
            <a:chOff x="973340" y="1447800"/>
            <a:chExt cx="7838223" cy="3276601"/>
          </a:xfrm>
        </p:grpSpPr>
        <p:sp>
          <p:nvSpPr>
            <p:cNvPr id="39" name="Rectangle 38"/>
            <p:cNvSpPr/>
            <p:nvPr/>
          </p:nvSpPr>
          <p:spPr>
            <a:xfrm>
              <a:off x="1709295" y="2606702"/>
              <a:ext cx="996575" cy="898498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>
            <a:xfrm>
              <a:off x="6652722" y="2606703"/>
              <a:ext cx="1195878" cy="2117698"/>
            </a:xfrm>
            <a:prstGeom prst="rect">
              <a:avLst/>
            </a:prstGeom>
            <a:solidFill>
              <a:srgbClr val="FFEB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652722" y="3505200"/>
              <a:ext cx="1195878" cy="1219200"/>
            </a:xfrm>
            <a:prstGeom prst="rect">
              <a:avLst/>
            </a:prstGeom>
            <a:pattFill prst="sphere">
              <a:fgClr>
                <a:srgbClr val="FFEB97"/>
              </a:fgClr>
              <a:bgClr>
                <a:schemeClr val="bg1">
                  <a:lumMod val="65000"/>
                </a:schemeClr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2703380" y="2606702"/>
              <a:ext cx="3949342" cy="1664307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Isosceles Triangle 179"/>
            <p:cNvSpPr/>
            <p:nvPr/>
          </p:nvSpPr>
          <p:spPr>
            <a:xfrm>
              <a:off x="2703100" y="3711748"/>
              <a:ext cx="3860221" cy="553453"/>
            </a:xfrm>
            <a:prstGeom prst="triangle">
              <a:avLst>
                <a:gd name="adj" fmla="val 0"/>
              </a:avLst>
            </a:prstGeom>
            <a:solidFill>
              <a:srgbClr val="542A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81" name="Elbow Connector 180"/>
            <p:cNvCxnSpPr/>
            <p:nvPr/>
          </p:nvCxnSpPr>
          <p:spPr>
            <a:xfrm rot="16200000" flipH="1">
              <a:off x="1257301" y="2170750"/>
              <a:ext cx="548640" cy="604562"/>
            </a:xfrm>
            <a:prstGeom prst="bentConnector2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82" name="Elbow Connector 11"/>
            <p:cNvCxnSpPr/>
            <p:nvPr/>
          </p:nvCxnSpPr>
          <p:spPr>
            <a:xfrm flipH="1">
              <a:off x="7596671" y="2970581"/>
              <a:ext cx="861529" cy="0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183" name="Straight Connector 182"/>
            <p:cNvCxnSpPr/>
            <p:nvPr/>
          </p:nvCxnSpPr>
          <p:spPr>
            <a:xfrm>
              <a:off x="973340" y="2209800"/>
              <a:ext cx="7838223" cy="0"/>
            </a:xfrm>
            <a:prstGeom prst="lin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32" name="Rectangle 31"/>
            <p:cNvSpPr/>
            <p:nvPr/>
          </p:nvSpPr>
          <p:spPr>
            <a:xfrm>
              <a:off x="2703380" y="2209800"/>
              <a:ext cx="3949342" cy="2061210"/>
            </a:xfrm>
            <a:prstGeom prst="rect">
              <a:avLst/>
            </a:prstGeom>
            <a:noFill/>
            <a:ln w="285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1709295" y="2209801"/>
              <a:ext cx="994085" cy="1295400"/>
            </a:xfrm>
            <a:prstGeom prst="rect">
              <a:avLst/>
            </a:prstGeom>
            <a:noFill/>
            <a:ln w="285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6652722" y="2209801"/>
              <a:ext cx="1195878" cy="2514600"/>
            </a:xfrm>
            <a:prstGeom prst="rect">
              <a:avLst/>
            </a:prstGeom>
            <a:noFill/>
            <a:ln w="28575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25" name="Elbow Connector 11"/>
            <p:cNvCxnSpPr/>
            <p:nvPr/>
          </p:nvCxnSpPr>
          <p:spPr>
            <a:xfrm flipH="1">
              <a:off x="2484820" y="2862682"/>
              <a:ext cx="442100" cy="0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grpSp>
          <p:nvGrpSpPr>
            <p:cNvPr id="177" name="Group 176"/>
            <p:cNvGrpSpPr/>
            <p:nvPr/>
          </p:nvGrpSpPr>
          <p:grpSpPr>
            <a:xfrm>
              <a:off x="2747662" y="2440909"/>
              <a:ext cx="3779805" cy="242252"/>
              <a:chOff x="2214471" y="6226491"/>
              <a:chExt cx="1475340" cy="143352"/>
            </a:xfrm>
          </p:grpSpPr>
          <p:sp>
            <p:nvSpPr>
              <p:cNvPr id="190" name="Oval 189"/>
              <p:cNvSpPr/>
              <p:nvPr/>
            </p:nvSpPr>
            <p:spPr>
              <a:xfrm>
                <a:off x="2214471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1" name="Oval 190"/>
              <p:cNvSpPr/>
              <p:nvPr/>
            </p:nvSpPr>
            <p:spPr>
              <a:xfrm>
                <a:off x="2281055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2" name="Oval 191"/>
              <p:cNvSpPr/>
              <p:nvPr/>
            </p:nvSpPr>
            <p:spPr>
              <a:xfrm>
                <a:off x="2347639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Oval 192"/>
              <p:cNvSpPr/>
              <p:nvPr/>
            </p:nvSpPr>
            <p:spPr>
              <a:xfrm>
                <a:off x="2414224" y="623316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4" name="Oval 193"/>
              <p:cNvSpPr/>
              <p:nvPr/>
            </p:nvSpPr>
            <p:spPr>
              <a:xfrm>
                <a:off x="248987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5" name="Oval 194"/>
              <p:cNvSpPr/>
              <p:nvPr/>
            </p:nvSpPr>
            <p:spPr>
              <a:xfrm>
                <a:off x="2576544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6" name="Oval 195"/>
              <p:cNvSpPr/>
              <p:nvPr/>
            </p:nvSpPr>
            <p:spPr>
              <a:xfrm>
                <a:off x="2643128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7" name="Oval 196"/>
              <p:cNvSpPr/>
              <p:nvPr/>
            </p:nvSpPr>
            <p:spPr>
              <a:xfrm>
                <a:off x="2728943" y="6242208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8" name="Oval 197"/>
              <p:cNvSpPr/>
              <p:nvPr/>
            </p:nvSpPr>
            <p:spPr>
              <a:xfrm>
                <a:off x="2823186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9" name="Oval 198"/>
              <p:cNvSpPr/>
              <p:nvPr/>
            </p:nvSpPr>
            <p:spPr>
              <a:xfrm>
                <a:off x="2889770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0" name="Oval 199"/>
              <p:cNvSpPr/>
              <p:nvPr/>
            </p:nvSpPr>
            <p:spPr>
              <a:xfrm>
                <a:off x="2956354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1" name="Oval 200"/>
              <p:cNvSpPr/>
              <p:nvPr/>
            </p:nvSpPr>
            <p:spPr>
              <a:xfrm>
                <a:off x="3022939" y="6238875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2" name="Oval 201"/>
              <p:cNvSpPr/>
              <p:nvPr/>
            </p:nvSpPr>
            <p:spPr>
              <a:xfrm>
                <a:off x="3098593" y="6243637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3" name="Oval 202"/>
              <p:cNvSpPr/>
              <p:nvPr/>
            </p:nvSpPr>
            <p:spPr>
              <a:xfrm>
                <a:off x="3185259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4" name="Oval 203"/>
              <p:cNvSpPr/>
              <p:nvPr/>
            </p:nvSpPr>
            <p:spPr>
              <a:xfrm>
                <a:off x="3251843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5" name="Oval 204"/>
              <p:cNvSpPr/>
              <p:nvPr/>
            </p:nvSpPr>
            <p:spPr>
              <a:xfrm>
                <a:off x="3337658" y="624792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6" name="Oval 205"/>
              <p:cNvSpPr/>
              <p:nvPr/>
            </p:nvSpPr>
            <p:spPr>
              <a:xfrm>
                <a:off x="3042170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7" name="Oval 206"/>
              <p:cNvSpPr/>
              <p:nvPr/>
            </p:nvSpPr>
            <p:spPr>
              <a:xfrm>
                <a:off x="3108754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8" name="Oval 207"/>
              <p:cNvSpPr/>
              <p:nvPr/>
            </p:nvSpPr>
            <p:spPr>
              <a:xfrm>
                <a:off x="3175338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0" name="Oval 209"/>
              <p:cNvSpPr/>
              <p:nvPr/>
            </p:nvSpPr>
            <p:spPr>
              <a:xfrm>
                <a:off x="3241923" y="6237922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1" name="Oval 210"/>
              <p:cNvSpPr/>
              <p:nvPr/>
            </p:nvSpPr>
            <p:spPr>
              <a:xfrm>
                <a:off x="3317577" y="6242684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2" name="Oval 211"/>
              <p:cNvSpPr/>
              <p:nvPr/>
            </p:nvSpPr>
            <p:spPr>
              <a:xfrm>
                <a:off x="3404243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3" name="Oval 212"/>
              <p:cNvSpPr/>
              <p:nvPr/>
            </p:nvSpPr>
            <p:spPr>
              <a:xfrm>
                <a:off x="3470827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4" name="Oval 213"/>
              <p:cNvSpPr/>
              <p:nvPr/>
            </p:nvSpPr>
            <p:spPr>
              <a:xfrm>
                <a:off x="3556642" y="6246970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5" name="Oval 214"/>
              <p:cNvSpPr/>
              <p:nvPr/>
            </p:nvSpPr>
            <p:spPr>
              <a:xfrm>
                <a:off x="2362019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6" name="Oval 215"/>
              <p:cNvSpPr/>
              <p:nvPr/>
            </p:nvSpPr>
            <p:spPr>
              <a:xfrm>
                <a:off x="2428603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7" name="Oval 216"/>
              <p:cNvSpPr/>
              <p:nvPr/>
            </p:nvSpPr>
            <p:spPr>
              <a:xfrm>
                <a:off x="2495187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8" name="Oval 217"/>
              <p:cNvSpPr/>
              <p:nvPr/>
            </p:nvSpPr>
            <p:spPr>
              <a:xfrm>
                <a:off x="2561772" y="6226491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9" name="Oval 218"/>
              <p:cNvSpPr/>
              <p:nvPr/>
            </p:nvSpPr>
            <p:spPr>
              <a:xfrm>
                <a:off x="2637426" y="6231253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0" name="Oval 219"/>
              <p:cNvSpPr/>
              <p:nvPr/>
            </p:nvSpPr>
            <p:spPr>
              <a:xfrm>
                <a:off x="2724092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1" name="Oval 220"/>
              <p:cNvSpPr/>
              <p:nvPr/>
            </p:nvSpPr>
            <p:spPr>
              <a:xfrm>
                <a:off x="2790676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2" name="Oval 221"/>
              <p:cNvSpPr/>
              <p:nvPr/>
            </p:nvSpPr>
            <p:spPr>
              <a:xfrm>
                <a:off x="2876491" y="6235539"/>
                <a:ext cx="133169" cy="121920"/>
              </a:xfrm>
              <a:prstGeom prst="ellipse">
                <a:avLst/>
              </a:prstGeom>
              <a:solidFill>
                <a:srgbClr val="FFFF00">
                  <a:alpha val="51000"/>
                </a:srgbClr>
              </a:solidFill>
              <a:ln w="3175" cap="flat" cmpd="sng" algn="ctr">
                <a:solidFill>
                  <a:srgbClr val="FFC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226" name="Elbow Connector 11"/>
            <p:cNvCxnSpPr/>
            <p:nvPr/>
          </p:nvCxnSpPr>
          <p:spPr>
            <a:xfrm flipH="1">
              <a:off x="6307610" y="3048953"/>
              <a:ext cx="534941" cy="0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27" name="Elbow Connector 11"/>
            <p:cNvCxnSpPr/>
            <p:nvPr/>
          </p:nvCxnSpPr>
          <p:spPr>
            <a:xfrm rot="16200000" flipH="1">
              <a:off x="2607675" y="2774601"/>
              <a:ext cx="712007" cy="0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28" name="Elbow Connector 11"/>
            <p:cNvCxnSpPr/>
            <p:nvPr/>
          </p:nvCxnSpPr>
          <p:spPr>
            <a:xfrm rot="16200000" flipH="1">
              <a:off x="6010816" y="3425190"/>
              <a:ext cx="1846765" cy="0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cxnSp>
          <p:nvCxnSpPr>
            <p:cNvPr id="229" name="Elbow Connector 11"/>
            <p:cNvCxnSpPr/>
            <p:nvPr/>
          </p:nvCxnSpPr>
          <p:spPr>
            <a:xfrm rot="16200000" flipH="1">
              <a:off x="4367464" y="2013556"/>
              <a:ext cx="712007" cy="0"/>
            </a:xfrm>
            <a:prstGeom prst="straightConnector1">
              <a:avLst/>
            </a:prstGeom>
            <a:noFill/>
            <a:ln w="190500" cap="flat" cmpd="dbl" algn="ctr">
              <a:solidFill>
                <a:sysClr val="windowText" lastClr="000000"/>
              </a:solidFill>
              <a:prstDash val="solid"/>
            </a:ln>
            <a:effectLst/>
          </p:spPr>
        </p:cxnSp>
        <p:sp>
          <p:nvSpPr>
            <p:cNvPr id="40" name="Rounded Rectangle 39"/>
            <p:cNvSpPr/>
            <p:nvPr/>
          </p:nvSpPr>
          <p:spPr>
            <a:xfrm>
              <a:off x="4591479" y="1447800"/>
              <a:ext cx="278112" cy="381000"/>
            </a:xfrm>
            <a:prstGeom prst="roundRect">
              <a:avLst/>
            </a:prstGeom>
            <a:pattFill prst="smGrid">
              <a:fgClr>
                <a:srgbClr val="000000"/>
              </a:fgClr>
              <a:bgClr>
                <a:schemeClr val="bg1"/>
              </a:bgClr>
            </a:patt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695073" y="2154901"/>
              <a:ext cx="64008" cy="109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6629400" y="3017868"/>
              <a:ext cx="276026" cy="64008"/>
            </a:xfrm>
            <a:prstGeom prst="rect">
              <a:avLst/>
            </a:prstGeom>
            <a:solidFill>
              <a:srgbClr val="FFEB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7596671" y="2938577"/>
              <a:ext cx="265159" cy="64008"/>
            </a:xfrm>
            <a:prstGeom prst="rect">
              <a:avLst/>
            </a:prstGeom>
            <a:solidFill>
              <a:srgbClr val="FFEB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2688640" y="2830506"/>
              <a:ext cx="283159" cy="64008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34" name="Rectangle 233"/>
            <p:cNvSpPr/>
            <p:nvPr/>
          </p:nvSpPr>
          <p:spPr>
            <a:xfrm>
              <a:off x="1696074" y="2714899"/>
              <a:ext cx="135447" cy="64008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</a:endParaRPr>
            </a:p>
          </p:txBody>
        </p:sp>
      </p:grpSp>
      <p:cxnSp>
        <p:nvCxnSpPr>
          <p:cNvPr id="236" name="Straight Arrow Connector 235"/>
          <p:cNvCxnSpPr>
            <a:endCxn id="40" idx="1"/>
          </p:cNvCxnSpPr>
          <p:nvPr/>
        </p:nvCxnSpPr>
        <p:spPr>
          <a:xfrm flipV="1">
            <a:off x="3311549" y="1333500"/>
            <a:ext cx="916190" cy="72166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37" name="TextBox 236"/>
          <p:cNvSpPr txBox="1"/>
          <p:nvPr/>
        </p:nvSpPr>
        <p:spPr>
          <a:xfrm>
            <a:off x="2121080" y="1216223"/>
            <a:ext cx="14447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mr-IN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</a:rPr>
              <a:t>डासांची जाळी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</a:endParaRPr>
          </a:p>
        </p:txBody>
      </p:sp>
      <p:cxnSp>
        <p:nvCxnSpPr>
          <p:cNvPr id="238" name="Straight Arrow Connector 237"/>
          <p:cNvCxnSpPr>
            <a:stCxn id="239" idx="0"/>
          </p:cNvCxnSpPr>
          <p:nvPr/>
        </p:nvCxnSpPr>
        <p:spPr>
          <a:xfrm rot="5400000" flipH="1" flipV="1">
            <a:off x="6601727" y="4380243"/>
            <a:ext cx="638530" cy="49785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39" name="TextBox 238"/>
          <p:cNvSpPr txBox="1"/>
          <p:nvPr/>
        </p:nvSpPr>
        <p:spPr>
          <a:xfrm>
            <a:off x="5943600" y="4724400"/>
            <a:ext cx="19049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mr-IN" sz="1400" dirty="0" smtClean="0"/>
              <a:t>फिल्टर (साधारणत: दगड व गोटे यांनी बनविलेला</a:t>
            </a:r>
            <a:r>
              <a:rPr lang="en-US" sz="1400" kern="0" dirty="0" smtClean="0">
                <a:latin typeface="Calibri"/>
              </a:rPr>
              <a:t>)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</a:endParaRPr>
          </a:p>
        </p:txBody>
      </p:sp>
      <p:cxnSp>
        <p:nvCxnSpPr>
          <p:cNvPr id="240" name="Straight Arrow Connector 239"/>
          <p:cNvCxnSpPr/>
          <p:nvPr/>
        </p:nvCxnSpPr>
        <p:spPr>
          <a:xfrm flipH="1">
            <a:off x="6886921" y="1524000"/>
            <a:ext cx="478589" cy="540760"/>
          </a:xfrm>
          <a:prstGeom prst="straightConnector1">
            <a:avLst/>
          </a:prstGeom>
          <a:noFill/>
          <a:ln w="9525" cap="flat" cmpd="sng" algn="ctr">
            <a:solidFill>
              <a:sysClr val="windowText" lastClr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241" name="TextBox 240"/>
          <p:cNvSpPr txBox="1"/>
          <p:nvPr/>
        </p:nvSpPr>
        <p:spPr>
          <a:xfrm>
            <a:off x="7232931" y="928612"/>
            <a:ext cx="14325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mr-IN" sz="1400" kern="0" dirty="0" smtClean="0">
                <a:latin typeface="Calibri"/>
              </a:rPr>
              <a:t>अपफ्लो अनेरोबिक फिल्टर </a:t>
            </a:r>
            <a:r>
              <a:rPr lang="en-US" sz="1400" kern="0" dirty="0" smtClean="0">
                <a:latin typeface="Calibri"/>
              </a:rPr>
              <a:t>(</a:t>
            </a:r>
            <a:r>
              <a:rPr lang="mr-IN" sz="1400" kern="0" dirty="0" smtClean="0">
                <a:latin typeface="Calibri"/>
              </a:rPr>
              <a:t>वेगळे युनिट शक्य</a:t>
            </a:r>
            <a:r>
              <a:rPr lang="en-US" sz="1400" kern="0" dirty="0" smtClean="0">
                <a:latin typeface="Calibri"/>
              </a:rPr>
              <a:t>)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Calibri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1268389" y="4585901"/>
            <a:ext cx="49972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mr-IN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गंधविरहित स्वच्छ सांडपाणी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70% </a:t>
            </a:r>
            <a:r>
              <a:rPr lang="mr-IN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पर्यंत बीओडी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mr-IN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विरहित</a:t>
            </a:r>
            <a:endParaRPr lang="en-US" sz="16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mr-IN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सूक्ष्मजीव/ किटाणू यांची वाढ होऊ देणे</a:t>
            </a:r>
            <a:r>
              <a:rPr lang="mr-IN" sz="16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endParaRPr lang="mr-IN" sz="16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285750" indent="-285750"/>
            <a:r>
              <a:rPr lang="mr-IN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 (प्रक्रियेची अधिक कार्यक्षमता वाढविणे शक्य)</a:t>
            </a:r>
          </a:p>
        </p:txBody>
      </p:sp>
      <p:sp>
        <p:nvSpPr>
          <p:cNvPr id="71" name="Rectangle 70"/>
          <p:cNvSpPr/>
          <p:nvPr/>
        </p:nvSpPr>
        <p:spPr>
          <a:xfrm>
            <a:off x="152400" y="6629400"/>
            <a:ext cx="91295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0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त्रोत: महाराष्ट्रातील नगर पंचायत व नगर परिषद – विकास नियंत्रण व प्रसार</a:t>
            </a:r>
            <a:endParaRPr lang="en-US" sz="10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47582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Rectangle 87"/>
          <p:cNvSpPr/>
          <p:nvPr/>
        </p:nvSpPr>
        <p:spPr>
          <a:xfrm>
            <a:off x="5378449" y="5181600"/>
            <a:ext cx="2157984" cy="521970"/>
          </a:xfrm>
          <a:prstGeom prst="rect">
            <a:avLst/>
          </a:prstGeom>
          <a:pattFill prst="lgConfetti">
            <a:fgClr>
              <a:srgbClr val="663300"/>
            </a:fgClr>
            <a:bgClr>
              <a:srgbClr val="996633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5283201" y="5029200"/>
            <a:ext cx="2336799" cy="739348"/>
          </a:xfrm>
          <a:custGeom>
            <a:avLst/>
            <a:gdLst>
              <a:gd name="connsiteX0" fmla="*/ 0 w 2336799"/>
              <a:gd name="connsiteY0" fmla="*/ 0 h 739348"/>
              <a:gd name="connsiteX1" fmla="*/ 2336799 w 2336799"/>
              <a:gd name="connsiteY1" fmla="*/ 0 h 739348"/>
              <a:gd name="connsiteX2" fmla="*/ 2336799 w 2336799"/>
              <a:gd name="connsiteY2" fmla="*/ 739348 h 739348"/>
              <a:gd name="connsiteX3" fmla="*/ 0 w 2336799"/>
              <a:gd name="connsiteY3" fmla="*/ 739348 h 739348"/>
              <a:gd name="connsiteX4" fmla="*/ 0 w 2336799"/>
              <a:gd name="connsiteY4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2336799 w 2336799"/>
              <a:gd name="connsiteY2" fmla="*/ 0 h 739348"/>
              <a:gd name="connsiteX3" fmla="*/ 2336799 w 2336799"/>
              <a:gd name="connsiteY3" fmla="*/ 739348 h 739348"/>
              <a:gd name="connsiteX4" fmla="*/ 0 w 2336799"/>
              <a:gd name="connsiteY4" fmla="*/ 739348 h 739348"/>
              <a:gd name="connsiteX5" fmla="*/ 0 w 2336799"/>
              <a:gd name="connsiteY5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2254249 w 2336799"/>
              <a:gd name="connsiteY2" fmla="*/ 0 h 739348"/>
              <a:gd name="connsiteX3" fmla="*/ 2336799 w 2336799"/>
              <a:gd name="connsiteY3" fmla="*/ 0 h 739348"/>
              <a:gd name="connsiteX4" fmla="*/ 2336799 w 2336799"/>
              <a:gd name="connsiteY4" fmla="*/ 739348 h 739348"/>
              <a:gd name="connsiteX5" fmla="*/ 0 w 2336799"/>
              <a:gd name="connsiteY5" fmla="*/ 739348 h 739348"/>
              <a:gd name="connsiteX6" fmla="*/ 0 w 2336799"/>
              <a:gd name="connsiteY6" fmla="*/ 0 h 739348"/>
              <a:gd name="connsiteX0" fmla="*/ 0 w 2441210"/>
              <a:gd name="connsiteY0" fmla="*/ 54766 h 794114"/>
              <a:gd name="connsiteX1" fmla="*/ 92074 w 2441210"/>
              <a:gd name="connsiteY1" fmla="*/ 54766 h 794114"/>
              <a:gd name="connsiteX2" fmla="*/ 2254249 w 2441210"/>
              <a:gd name="connsiteY2" fmla="*/ 54766 h 794114"/>
              <a:gd name="connsiteX3" fmla="*/ 2336799 w 2441210"/>
              <a:gd name="connsiteY3" fmla="*/ 54766 h 794114"/>
              <a:gd name="connsiteX4" fmla="*/ 2336799 w 2441210"/>
              <a:gd name="connsiteY4" fmla="*/ 794114 h 794114"/>
              <a:gd name="connsiteX5" fmla="*/ 0 w 2441210"/>
              <a:gd name="connsiteY5" fmla="*/ 794114 h 794114"/>
              <a:gd name="connsiteX6" fmla="*/ 0 w 2441210"/>
              <a:gd name="connsiteY6" fmla="*/ 54766 h 794114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2254249 w 2336799"/>
              <a:gd name="connsiteY2" fmla="*/ 0 h 739348"/>
              <a:gd name="connsiteX3" fmla="*/ 2336799 w 2336799"/>
              <a:gd name="connsiteY3" fmla="*/ 0 h 739348"/>
              <a:gd name="connsiteX4" fmla="*/ 2336799 w 2336799"/>
              <a:gd name="connsiteY4" fmla="*/ 739348 h 739348"/>
              <a:gd name="connsiteX5" fmla="*/ 0 w 2336799"/>
              <a:gd name="connsiteY5" fmla="*/ 739348 h 739348"/>
              <a:gd name="connsiteX6" fmla="*/ 0 w 2336799"/>
              <a:gd name="connsiteY6" fmla="*/ 0 h 739348"/>
              <a:gd name="connsiteX0" fmla="*/ 0 w 2336799"/>
              <a:gd name="connsiteY0" fmla="*/ 3175 h 742523"/>
              <a:gd name="connsiteX1" fmla="*/ 92074 w 2336799"/>
              <a:gd name="connsiteY1" fmla="*/ 3175 h 742523"/>
              <a:gd name="connsiteX2" fmla="*/ 279399 w 2336799"/>
              <a:gd name="connsiteY2" fmla="*/ 0 h 742523"/>
              <a:gd name="connsiteX3" fmla="*/ 2254249 w 2336799"/>
              <a:gd name="connsiteY3" fmla="*/ 3175 h 742523"/>
              <a:gd name="connsiteX4" fmla="*/ 2336799 w 2336799"/>
              <a:gd name="connsiteY4" fmla="*/ 3175 h 742523"/>
              <a:gd name="connsiteX5" fmla="*/ 2336799 w 2336799"/>
              <a:gd name="connsiteY5" fmla="*/ 742523 h 742523"/>
              <a:gd name="connsiteX6" fmla="*/ 0 w 2336799"/>
              <a:gd name="connsiteY6" fmla="*/ 742523 h 742523"/>
              <a:gd name="connsiteX7" fmla="*/ 0 w 2336799"/>
              <a:gd name="connsiteY7" fmla="*/ 3175 h 742523"/>
              <a:gd name="connsiteX0" fmla="*/ 0 w 2336799"/>
              <a:gd name="connsiteY0" fmla="*/ 3175 h 742523"/>
              <a:gd name="connsiteX1" fmla="*/ 92074 w 2336799"/>
              <a:gd name="connsiteY1" fmla="*/ 3175 h 742523"/>
              <a:gd name="connsiteX2" fmla="*/ 279399 w 2336799"/>
              <a:gd name="connsiteY2" fmla="*/ 0 h 742523"/>
              <a:gd name="connsiteX3" fmla="*/ 2254249 w 2336799"/>
              <a:gd name="connsiteY3" fmla="*/ 3175 h 742523"/>
              <a:gd name="connsiteX4" fmla="*/ 2336799 w 2336799"/>
              <a:gd name="connsiteY4" fmla="*/ 3175 h 742523"/>
              <a:gd name="connsiteX5" fmla="*/ 2336799 w 2336799"/>
              <a:gd name="connsiteY5" fmla="*/ 742523 h 742523"/>
              <a:gd name="connsiteX6" fmla="*/ 0 w 2336799"/>
              <a:gd name="connsiteY6" fmla="*/ 742523 h 742523"/>
              <a:gd name="connsiteX7" fmla="*/ 0 w 2336799"/>
              <a:gd name="connsiteY7" fmla="*/ 3175 h 742523"/>
              <a:gd name="connsiteX0" fmla="*/ 0 w 2437521"/>
              <a:gd name="connsiteY0" fmla="*/ 48683 h 788031"/>
              <a:gd name="connsiteX1" fmla="*/ 92074 w 2437521"/>
              <a:gd name="connsiteY1" fmla="*/ 48683 h 788031"/>
              <a:gd name="connsiteX2" fmla="*/ 92074 w 2437521"/>
              <a:gd name="connsiteY2" fmla="*/ 705908 h 788031"/>
              <a:gd name="connsiteX3" fmla="*/ 2254249 w 2437521"/>
              <a:gd name="connsiteY3" fmla="*/ 48683 h 788031"/>
              <a:gd name="connsiteX4" fmla="*/ 2336799 w 2437521"/>
              <a:gd name="connsiteY4" fmla="*/ 48683 h 788031"/>
              <a:gd name="connsiteX5" fmla="*/ 2336799 w 2437521"/>
              <a:gd name="connsiteY5" fmla="*/ 788031 h 788031"/>
              <a:gd name="connsiteX6" fmla="*/ 0 w 2437521"/>
              <a:gd name="connsiteY6" fmla="*/ 788031 h 788031"/>
              <a:gd name="connsiteX7" fmla="*/ 0 w 2437521"/>
              <a:gd name="connsiteY7" fmla="*/ 48683 h 788031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2254249 w 2336799"/>
              <a:gd name="connsiteY3" fmla="*/ 0 h 739348"/>
              <a:gd name="connsiteX4" fmla="*/ 2336799 w 2336799"/>
              <a:gd name="connsiteY4" fmla="*/ 0 h 739348"/>
              <a:gd name="connsiteX5" fmla="*/ 2336799 w 2336799"/>
              <a:gd name="connsiteY5" fmla="*/ 739348 h 739348"/>
              <a:gd name="connsiteX6" fmla="*/ 0 w 2336799"/>
              <a:gd name="connsiteY6" fmla="*/ 739348 h 739348"/>
              <a:gd name="connsiteX7" fmla="*/ 0 w 2336799"/>
              <a:gd name="connsiteY7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1997074 w 2336799"/>
              <a:gd name="connsiteY3" fmla="*/ 79375 h 739348"/>
              <a:gd name="connsiteX4" fmla="*/ 2254249 w 2336799"/>
              <a:gd name="connsiteY4" fmla="*/ 0 h 739348"/>
              <a:gd name="connsiteX5" fmla="*/ 2336799 w 2336799"/>
              <a:gd name="connsiteY5" fmla="*/ 0 h 739348"/>
              <a:gd name="connsiteX6" fmla="*/ 2336799 w 2336799"/>
              <a:gd name="connsiteY6" fmla="*/ 739348 h 739348"/>
              <a:gd name="connsiteX7" fmla="*/ 0 w 2336799"/>
              <a:gd name="connsiteY7" fmla="*/ 739348 h 739348"/>
              <a:gd name="connsiteX8" fmla="*/ 0 w 2336799"/>
              <a:gd name="connsiteY8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1997074 w 2336799"/>
              <a:gd name="connsiteY3" fmla="*/ 79375 h 739348"/>
              <a:gd name="connsiteX4" fmla="*/ 2254249 w 2336799"/>
              <a:gd name="connsiteY4" fmla="*/ 0 h 739348"/>
              <a:gd name="connsiteX5" fmla="*/ 2336799 w 2336799"/>
              <a:gd name="connsiteY5" fmla="*/ 0 h 739348"/>
              <a:gd name="connsiteX6" fmla="*/ 2336799 w 2336799"/>
              <a:gd name="connsiteY6" fmla="*/ 739348 h 739348"/>
              <a:gd name="connsiteX7" fmla="*/ 0 w 2336799"/>
              <a:gd name="connsiteY7" fmla="*/ 739348 h 739348"/>
              <a:gd name="connsiteX8" fmla="*/ 0 w 2336799"/>
              <a:gd name="connsiteY8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1997074 w 2336799"/>
              <a:gd name="connsiteY3" fmla="*/ 79375 h 739348"/>
              <a:gd name="connsiteX4" fmla="*/ 2254249 w 2336799"/>
              <a:gd name="connsiteY4" fmla="*/ 0 h 739348"/>
              <a:gd name="connsiteX5" fmla="*/ 2336799 w 2336799"/>
              <a:gd name="connsiteY5" fmla="*/ 0 h 739348"/>
              <a:gd name="connsiteX6" fmla="*/ 2336799 w 2336799"/>
              <a:gd name="connsiteY6" fmla="*/ 739348 h 739348"/>
              <a:gd name="connsiteX7" fmla="*/ 0 w 2336799"/>
              <a:gd name="connsiteY7" fmla="*/ 739348 h 739348"/>
              <a:gd name="connsiteX8" fmla="*/ 0 w 2336799"/>
              <a:gd name="connsiteY8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1997074 w 2336799"/>
              <a:gd name="connsiteY3" fmla="*/ 79375 h 739348"/>
              <a:gd name="connsiteX4" fmla="*/ 2254249 w 2336799"/>
              <a:gd name="connsiteY4" fmla="*/ 0 h 739348"/>
              <a:gd name="connsiteX5" fmla="*/ 2336799 w 2336799"/>
              <a:gd name="connsiteY5" fmla="*/ 0 h 739348"/>
              <a:gd name="connsiteX6" fmla="*/ 2336799 w 2336799"/>
              <a:gd name="connsiteY6" fmla="*/ 739348 h 739348"/>
              <a:gd name="connsiteX7" fmla="*/ 0 w 2336799"/>
              <a:gd name="connsiteY7" fmla="*/ 739348 h 739348"/>
              <a:gd name="connsiteX8" fmla="*/ 0 w 2336799"/>
              <a:gd name="connsiteY8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1997074 w 2336799"/>
              <a:gd name="connsiteY3" fmla="*/ 79375 h 739348"/>
              <a:gd name="connsiteX4" fmla="*/ 2254249 w 2336799"/>
              <a:gd name="connsiteY4" fmla="*/ 0 h 739348"/>
              <a:gd name="connsiteX5" fmla="*/ 2336799 w 2336799"/>
              <a:gd name="connsiteY5" fmla="*/ 0 h 739348"/>
              <a:gd name="connsiteX6" fmla="*/ 2336799 w 2336799"/>
              <a:gd name="connsiteY6" fmla="*/ 739348 h 739348"/>
              <a:gd name="connsiteX7" fmla="*/ 0 w 2336799"/>
              <a:gd name="connsiteY7" fmla="*/ 739348 h 739348"/>
              <a:gd name="connsiteX8" fmla="*/ 0 w 2336799"/>
              <a:gd name="connsiteY8" fmla="*/ 0 h 739348"/>
              <a:gd name="connsiteX0" fmla="*/ 68322 w 2405121"/>
              <a:gd name="connsiteY0" fmla="*/ 48212 h 787560"/>
              <a:gd name="connsiteX1" fmla="*/ 160396 w 2405121"/>
              <a:gd name="connsiteY1" fmla="*/ 48212 h 787560"/>
              <a:gd name="connsiteX2" fmla="*/ 160396 w 2405121"/>
              <a:gd name="connsiteY2" fmla="*/ 705437 h 787560"/>
              <a:gd name="connsiteX3" fmla="*/ 2325746 w 2405121"/>
              <a:gd name="connsiteY3" fmla="*/ 699087 h 787560"/>
              <a:gd name="connsiteX4" fmla="*/ 2322571 w 2405121"/>
              <a:gd name="connsiteY4" fmla="*/ 48212 h 787560"/>
              <a:gd name="connsiteX5" fmla="*/ 2405121 w 2405121"/>
              <a:gd name="connsiteY5" fmla="*/ 48212 h 787560"/>
              <a:gd name="connsiteX6" fmla="*/ 2405121 w 2405121"/>
              <a:gd name="connsiteY6" fmla="*/ 787560 h 787560"/>
              <a:gd name="connsiteX7" fmla="*/ 68322 w 2405121"/>
              <a:gd name="connsiteY7" fmla="*/ 787560 h 787560"/>
              <a:gd name="connsiteX8" fmla="*/ 68322 w 2405121"/>
              <a:gd name="connsiteY8" fmla="*/ 48212 h 787560"/>
              <a:gd name="connsiteX0" fmla="*/ 64967 w 2401766"/>
              <a:gd name="connsiteY0" fmla="*/ 48212 h 787560"/>
              <a:gd name="connsiteX1" fmla="*/ 157041 w 2401766"/>
              <a:gd name="connsiteY1" fmla="*/ 48212 h 787560"/>
              <a:gd name="connsiteX2" fmla="*/ 157041 w 2401766"/>
              <a:gd name="connsiteY2" fmla="*/ 705437 h 787560"/>
              <a:gd name="connsiteX3" fmla="*/ 2322391 w 2401766"/>
              <a:gd name="connsiteY3" fmla="*/ 699087 h 787560"/>
              <a:gd name="connsiteX4" fmla="*/ 2319216 w 2401766"/>
              <a:gd name="connsiteY4" fmla="*/ 48212 h 787560"/>
              <a:gd name="connsiteX5" fmla="*/ 2401766 w 2401766"/>
              <a:gd name="connsiteY5" fmla="*/ 48212 h 787560"/>
              <a:gd name="connsiteX6" fmla="*/ 2401766 w 2401766"/>
              <a:gd name="connsiteY6" fmla="*/ 787560 h 787560"/>
              <a:gd name="connsiteX7" fmla="*/ 64967 w 2401766"/>
              <a:gd name="connsiteY7" fmla="*/ 787560 h 787560"/>
              <a:gd name="connsiteX8" fmla="*/ 64967 w 2401766"/>
              <a:gd name="connsiteY8" fmla="*/ 48212 h 787560"/>
              <a:gd name="connsiteX0" fmla="*/ 0 w 2336799"/>
              <a:gd name="connsiteY0" fmla="*/ 48212 h 787560"/>
              <a:gd name="connsiteX1" fmla="*/ 92074 w 2336799"/>
              <a:gd name="connsiteY1" fmla="*/ 48212 h 787560"/>
              <a:gd name="connsiteX2" fmla="*/ 92074 w 2336799"/>
              <a:gd name="connsiteY2" fmla="*/ 705437 h 787560"/>
              <a:gd name="connsiteX3" fmla="*/ 2257424 w 2336799"/>
              <a:gd name="connsiteY3" fmla="*/ 699087 h 787560"/>
              <a:gd name="connsiteX4" fmla="*/ 2254249 w 2336799"/>
              <a:gd name="connsiteY4" fmla="*/ 48212 h 787560"/>
              <a:gd name="connsiteX5" fmla="*/ 2336799 w 2336799"/>
              <a:gd name="connsiteY5" fmla="*/ 48212 h 787560"/>
              <a:gd name="connsiteX6" fmla="*/ 2336799 w 2336799"/>
              <a:gd name="connsiteY6" fmla="*/ 787560 h 787560"/>
              <a:gd name="connsiteX7" fmla="*/ 0 w 2336799"/>
              <a:gd name="connsiteY7" fmla="*/ 787560 h 787560"/>
              <a:gd name="connsiteX8" fmla="*/ 0 w 2336799"/>
              <a:gd name="connsiteY8" fmla="*/ 48212 h 787560"/>
              <a:gd name="connsiteX0" fmla="*/ 0 w 2336799"/>
              <a:gd name="connsiteY0" fmla="*/ 48212 h 787560"/>
              <a:gd name="connsiteX1" fmla="*/ 92074 w 2336799"/>
              <a:gd name="connsiteY1" fmla="*/ 48212 h 787560"/>
              <a:gd name="connsiteX2" fmla="*/ 92074 w 2336799"/>
              <a:gd name="connsiteY2" fmla="*/ 705437 h 787560"/>
              <a:gd name="connsiteX3" fmla="*/ 2257424 w 2336799"/>
              <a:gd name="connsiteY3" fmla="*/ 699087 h 787560"/>
              <a:gd name="connsiteX4" fmla="*/ 2254249 w 2336799"/>
              <a:gd name="connsiteY4" fmla="*/ 48212 h 787560"/>
              <a:gd name="connsiteX5" fmla="*/ 2336799 w 2336799"/>
              <a:gd name="connsiteY5" fmla="*/ 48212 h 787560"/>
              <a:gd name="connsiteX6" fmla="*/ 2336799 w 2336799"/>
              <a:gd name="connsiteY6" fmla="*/ 787560 h 787560"/>
              <a:gd name="connsiteX7" fmla="*/ 0 w 2336799"/>
              <a:gd name="connsiteY7" fmla="*/ 787560 h 787560"/>
              <a:gd name="connsiteX8" fmla="*/ 0 w 2336799"/>
              <a:gd name="connsiteY8" fmla="*/ 48212 h 787560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2257424 w 2336799"/>
              <a:gd name="connsiteY3" fmla="*/ 650875 h 739348"/>
              <a:gd name="connsiteX4" fmla="*/ 2254249 w 2336799"/>
              <a:gd name="connsiteY4" fmla="*/ 0 h 739348"/>
              <a:gd name="connsiteX5" fmla="*/ 2336799 w 2336799"/>
              <a:gd name="connsiteY5" fmla="*/ 0 h 739348"/>
              <a:gd name="connsiteX6" fmla="*/ 2336799 w 2336799"/>
              <a:gd name="connsiteY6" fmla="*/ 739348 h 739348"/>
              <a:gd name="connsiteX7" fmla="*/ 0 w 2336799"/>
              <a:gd name="connsiteY7" fmla="*/ 739348 h 739348"/>
              <a:gd name="connsiteX8" fmla="*/ 0 w 2336799"/>
              <a:gd name="connsiteY8" fmla="*/ 0 h 739348"/>
              <a:gd name="connsiteX0" fmla="*/ 0 w 2336799"/>
              <a:gd name="connsiteY0" fmla="*/ 0 h 739348"/>
              <a:gd name="connsiteX1" fmla="*/ 92074 w 2336799"/>
              <a:gd name="connsiteY1" fmla="*/ 0 h 739348"/>
              <a:gd name="connsiteX2" fmla="*/ 92074 w 2336799"/>
              <a:gd name="connsiteY2" fmla="*/ 657225 h 739348"/>
              <a:gd name="connsiteX3" fmla="*/ 2257424 w 2336799"/>
              <a:gd name="connsiteY3" fmla="*/ 650875 h 739348"/>
              <a:gd name="connsiteX4" fmla="*/ 2254249 w 2336799"/>
              <a:gd name="connsiteY4" fmla="*/ 0 h 739348"/>
              <a:gd name="connsiteX5" fmla="*/ 2336799 w 2336799"/>
              <a:gd name="connsiteY5" fmla="*/ 0 h 739348"/>
              <a:gd name="connsiteX6" fmla="*/ 2336799 w 2336799"/>
              <a:gd name="connsiteY6" fmla="*/ 739348 h 739348"/>
              <a:gd name="connsiteX7" fmla="*/ 0 w 2336799"/>
              <a:gd name="connsiteY7" fmla="*/ 739348 h 739348"/>
              <a:gd name="connsiteX8" fmla="*/ 0 w 2336799"/>
              <a:gd name="connsiteY8" fmla="*/ 0 h 739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36799" h="739348">
                <a:moveTo>
                  <a:pt x="0" y="0"/>
                </a:moveTo>
                <a:lnTo>
                  <a:pt x="92074" y="0"/>
                </a:lnTo>
                <a:lnTo>
                  <a:pt x="92074" y="657225"/>
                </a:lnTo>
                <a:lnTo>
                  <a:pt x="2257424" y="650875"/>
                </a:lnTo>
                <a:cubicBezTo>
                  <a:pt x="2256366" y="433917"/>
                  <a:pt x="2255307" y="216958"/>
                  <a:pt x="2254249" y="0"/>
                </a:cubicBezTo>
                <a:lnTo>
                  <a:pt x="2336799" y="0"/>
                </a:lnTo>
                <a:lnTo>
                  <a:pt x="2336799" y="739348"/>
                </a:lnTo>
                <a:lnTo>
                  <a:pt x="0" y="739348"/>
                </a:lnTo>
                <a:lnTo>
                  <a:pt x="0" y="0"/>
                </a:lnTo>
                <a:close/>
              </a:path>
            </a:pathLst>
          </a:custGeom>
          <a:pattFill prst="horzBrick">
            <a:fgClr>
              <a:srgbClr val="C00000"/>
            </a:fgClr>
            <a:bgClr>
              <a:schemeClr val="bg1"/>
            </a:bgClr>
          </a:patt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‍ॅनोरेबिक</a:t>
            </a:r>
            <a:r>
              <a:rPr lang="en-US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  <a:r>
              <a:rPr lang="mr-IN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ायो डायजेस्टर – रीड बेडसहित</a:t>
            </a:r>
            <a:endParaRPr lang="en-US" dirty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09" name="Rectangle 208"/>
          <p:cNvSpPr/>
          <p:nvPr/>
        </p:nvSpPr>
        <p:spPr>
          <a:xfrm>
            <a:off x="183840" y="838199"/>
            <a:ext cx="8731560" cy="5715001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54914" y="1005034"/>
            <a:ext cx="1014222" cy="1290399"/>
            <a:chOff x="902589" y="1066800"/>
            <a:chExt cx="1014222" cy="1290399"/>
          </a:xfrm>
        </p:grpSpPr>
        <p:sp>
          <p:nvSpPr>
            <p:cNvPr id="2" name="Rounded Rectangle 1"/>
            <p:cNvSpPr/>
            <p:nvPr/>
          </p:nvSpPr>
          <p:spPr>
            <a:xfrm>
              <a:off x="902589" y="1143000"/>
              <a:ext cx="1014222" cy="1214199"/>
            </a:xfrm>
            <a:prstGeom prst="round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1179195" y="1066800"/>
              <a:ext cx="461010" cy="762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cxnSp>
        <p:nvCxnSpPr>
          <p:cNvPr id="35" name="Elbow Connector 34"/>
          <p:cNvCxnSpPr/>
          <p:nvPr/>
        </p:nvCxnSpPr>
        <p:spPr>
          <a:xfrm rot="10800000" flipH="1" flipV="1">
            <a:off x="462913" y="2057400"/>
            <a:ext cx="822960" cy="457200"/>
          </a:xfrm>
          <a:prstGeom prst="bentConnector3">
            <a:avLst>
              <a:gd name="adj1" fmla="val -19476"/>
            </a:avLst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36"/>
          <p:cNvSpPr/>
          <p:nvPr/>
        </p:nvSpPr>
        <p:spPr>
          <a:xfrm>
            <a:off x="435864" y="1409700"/>
            <a:ext cx="1047750" cy="58347"/>
          </a:xfrm>
          <a:custGeom>
            <a:avLst/>
            <a:gdLst>
              <a:gd name="connsiteX0" fmla="*/ 0 w 1047750"/>
              <a:gd name="connsiteY0" fmla="*/ 9525 h 9525"/>
              <a:gd name="connsiteX1" fmla="*/ 1047750 w 1047750"/>
              <a:gd name="connsiteY1" fmla="*/ 0 h 9525"/>
              <a:gd name="connsiteX2" fmla="*/ 1047750 w 1047750"/>
              <a:gd name="connsiteY2" fmla="*/ 0 h 9525"/>
              <a:gd name="connsiteX0" fmla="*/ 0 w 10000"/>
              <a:gd name="connsiteY0" fmla="*/ 10000 h 10000"/>
              <a:gd name="connsiteX1" fmla="*/ 10000 w 10000"/>
              <a:gd name="connsiteY1" fmla="*/ 0 h 10000"/>
              <a:gd name="connsiteX2" fmla="*/ 10000 w 10000"/>
              <a:gd name="connsiteY2" fmla="*/ 0 h 10000"/>
              <a:gd name="connsiteX0" fmla="*/ 0 w 10000"/>
              <a:gd name="connsiteY0" fmla="*/ 10000 h 10000"/>
              <a:gd name="connsiteX1" fmla="*/ 10000 w 10000"/>
              <a:gd name="connsiteY1" fmla="*/ 0 h 10000"/>
              <a:gd name="connsiteX2" fmla="*/ 10000 w 10000"/>
              <a:gd name="connsiteY2" fmla="*/ 0 h 10000"/>
              <a:gd name="connsiteX0" fmla="*/ 0 w 10000"/>
              <a:gd name="connsiteY0" fmla="*/ 10000 h 38995"/>
              <a:gd name="connsiteX1" fmla="*/ 10000 w 10000"/>
              <a:gd name="connsiteY1" fmla="*/ 0 h 38995"/>
              <a:gd name="connsiteX2" fmla="*/ 10000 w 10000"/>
              <a:gd name="connsiteY2" fmla="*/ 0 h 38995"/>
              <a:gd name="connsiteX0" fmla="*/ 0 w 10000"/>
              <a:gd name="connsiteY0" fmla="*/ 10000 h 61256"/>
              <a:gd name="connsiteX1" fmla="*/ 10000 w 10000"/>
              <a:gd name="connsiteY1" fmla="*/ 0 h 61256"/>
              <a:gd name="connsiteX2" fmla="*/ 10000 w 10000"/>
              <a:gd name="connsiteY2" fmla="*/ 0 h 61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61256">
                <a:moveTo>
                  <a:pt x="0" y="10000"/>
                </a:moveTo>
                <a:cubicBezTo>
                  <a:pt x="3424" y="76666"/>
                  <a:pt x="6758" y="83333"/>
                  <a:pt x="10000" y="0"/>
                </a:cubicBezTo>
                <a:lnTo>
                  <a:pt x="10000" y="0"/>
                </a:lnTo>
              </a:path>
            </a:pathLst>
          </a:custGeom>
          <a:noFill/>
          <a:ln w="76200" cap="rnd">
            <a:solidFill>
              <a:srgbClr val="29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41" name="Freeform 40"/>
          <p:cNvSpPr/>
          <p:nvPr/>
        </p:nvSpPr>
        <p:spPr>
          <a:xfrm>
            <a:off x="438150" y="1688333"/>
            <a:ext cx="1047750" cy="58347"/>
          </a:xfrm>
          <a:custGeom>
            <a:avLst/>
            <a:gdLst>
              <a:gd name="connsiteX0" fmla="*/ 0 w 1047750"/>
              <a:gd name="connsiteY0" fmla="*/ 9525 h 9525"/>
              <a:gd name="connsiteX1" fmla="*/ 1047750 w 1047750"/>
              <a:gd name="connsiteY1" fmla="*/ 0 h 9525"/>
              <a:gd name="connsiteX2" fmla="*/ 1047750 w 1047750"/>
              <a:gd name="connsiteY2" fmla="*/ 0 h 9525"/>
              <a:gd name="connsiteX0" fmla="*/ 0 w 10000"/>
              <a:gd name="connsiteY0" fmla="*/ 10000 h 10000"/>
              <a:gd name="connsiteX1" fmla="*/ 10000 w 10000"/>
              <a:gd name="connsiteY1" fmla="*/ 0 h 10000"/>
              <a:gd name="connsiteX2" fmla="*/ 10000 w 10000"/>
              <a:gd name="connsiteY2" fmla="*/ 0 h 10000"/>
              <a:gd name="connsiteX0" fmla="*/ 0 w 10000"/>
              <a:gd name="connsiteY0" fmla="*/ 10000 h 10000"/>
              <a:gd name="connsiteX1" fmla="*/ 10000 w 10000"/>
              <a:gd name="connsiteY1" fmla="*/ 0 h 10000"/>
              <a:gd name="connsiteX2" fmla="*/ 10000 w 10000"/>
              <a:gd name="connsiteY2" fmla="*/ 0 h 10000"/>
              <a:gd name="connsiteX0" fmla="*/ 0 w 10000"/>
              <a:gd name="connsiteY0" fmla="*/ 10000 h 38995"/>
              <a:gd name="connsiteX1" fmla="*/ 10000 w 10000"/>
              <a:gd name="connsiteY1" fmla="*/ 0 h 38995"/>
              <a:gd name="connsiteX2" fmla="*/ 10000 w 10000"/>
              <a:gd name="connsiteY2" fmla="*/ 0 h 38995"/>
              <a:gd name="connsiteX0" fmla="*/ 0 w 10000"/>
              <a:gd name="connsiteY0" fmla="*/ 10000 h 61256"/>
              <a:gd name="connsiteX1" fmla="*/ 10000 w 10000"/>
              <a:gd name="connsiteY1" fmla="*/ 0 h 61256"/>
              <a:gd name="connsiteX2" fmla="*/ 10000 w 10000"/>
              <a:gd name="connsiteY2" fmla="*/ 0 h 61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61256">
                <a:moveTo>
                  <a:pt x="0" y="10000"/>
                </a:moveTo>
                <a:cubicBezTo>
                  <a:pt x="3424" y="76666"/>
                  <a:pt x="6758" y="83333"/>
                  <a:pt x="10000" y="0"/>
                </a:cubicBezTo>
                <a:lnTo>
                  <a:pt x="10000" y="0"/>
                </a:lnTo>
              </a:path>
            </a:pathLst>
          </a:custGeom>
          <a:noFill/>
          <a:ln w="76200" cap="rnd">
            <a:solidFill>
              <a:srgbClr val="29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435864" y="1912210"/>
            <a:ext cx="1047750" cy="58347"/>
          </a:xfrm>
          <a:custGeom>
            <a:avLst/>
            <a:gdLst>
              <a:gd name="connsiteX0" fmla="*/ 0 w 1047750"/>
              <a:gd name="connsiteY0" fmla="*/ 9525 h 9525"/>
              <a:gd name="connsiteX1" fmla="*/ 1047750 w 1047750"/>
              <a:gd name="connsiteY1" fmla="*/ 0 h 9525"/>
              <a:gd name="connsiteX2" fmla="*/ 1047750 w 1047750"/>
              <a:gd name="connsiteY2" fmla="*/ 0 h 9525"/>
              <a:gd name="connsiteX0" fmla="*/ 0 w 10000"/>
              <a:gd name="connsiteY0" fmla="*/ 10000 h 10000"/>
              <a:gd name="connsiteX1" fmla="*/ 10000 w 10000"/>
              <a:gd name="connsiteY1" fmla="*/ 0 h 10000"/>
              <a:gd name="connsiteX2" fmla="*/ 10000 w 10000"/>
              <a:gd name="connsiteY2" fmla="*/ 0 h 10000"/>
              <a:gd name="connsiteX0" fmla="*/ 0 w 10000"/>
              <a:gd name="connsiteY0" fmla="*/ 10000 h 10000"/>
              <a:gd name="connsiteX1" fmla="*/ 10000 w 10000"/>
              <a:gd name="connsiteY1" fmla="*/ 0 h 10000"/>
              <a:gd name="connsiteX2" fmla="*/ 10000 w 10000"/>
              <a:gd name="connsiteY2" fmla="*/ 0 h 10000"/>
              <a:gd name="connsiteX0" fmla="*/ 0 w 10000"/>
              <a:gd name="connsiteY0" fmla="*/ 10000 h 38995"/>
              <a:gd name="connsiteX1" fmla="*/ 10000 w 10000"/>
              <a:gd name="connsiteY1" fmla="*/ 0 h 38995"/>
              <a:gd name="connsiteX2" fmla="*/ 10000 w 10000"/>
              <a:gd name="connsiteY2" fmla="*/ 0 h 38995"/>
              <a:gd name="connsiteX0" fmla="*/ 0 w 10000"/>
              <a:gd name="connsiteY0" fmla="*/ 10000 h 61256"/>
              <a:gd name="connsiteX1" fmla="*/ 10000 w 10000"/>
              <a:gd name="connsiteY1" fmla="*/ 0 h 61256"/>
              <a:gd name="connsiteX2" fmla="*/ 10000 w 10000"/>
              <a:gd name="connsiteY2" fmla="*/ 0 h 61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00" h="61256">
                <a:moveTo>
                  <a:pt x="0" y="10000"/>
                </a:moveTo>
                <a:cubicBezTo>
                  <a:pt x="3424" y="76666"/>
                  <a:pt x="6758" y="83333"/>
                  <a:pt x="10000" y="0"/>
                </a:cubicBezTo>
                <a:lnTo>
                  <a:pt x="10000" y="0"/>
                </a:lnTo>
              </a:path>
            </a:pathLst>
          </a:custGeom>
          <a:noFill/>
          <a:ln w="76200" cap="rnd">
            <a:solidFill>
              <a:srgbClr val="29292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2309972" y="5029200"/>
            <a:ext cx="3164815" cy="1295400"/>
            <a:chOff x="2309972" y="5029200"/>
            <a:chExt cx="3164815" cy="1295400"/>
          </a:xfrm>
        </p:grpSpPr>
        <p:sp>
          <p:nvSpPr>
            <p:cNvPr id="54" name="Rectangle 53"/>
            <p:cNvSpPr/>
            <p:nvPr/>
          </p:nvSpPr>
          <p:spPr>
            <a:xfrm>
              <a:off x="2335182" y="5562600"/>
              <a:ext cx="2546820" cy="760987"/>
            </a:xfrm>
            <a:prstGeom prst="rect">
              <a:avLst/>
            </a:prstGeom>
            <a:gradFill flip="none" rotWithShape="1">
              <a:gsLst>
                <a:gs pos="0">
                  <a:schemeClr val="accent4">
                    <a:lumMod val="50000"/>
                  </a:schemeClr>
                </a:gs>
                <a:gs pos="75000">
                  <a:schemeClr val="accent4">
                    <a:lumMod val="20000"/>
                    <a:lumOff val="80000"/>
                  </a:schemeClr>
                </a:gs>
                <a:gs pos="50000">
                  <a:schemeClr val="accent4">
                    <a:lumMod val="40000"/>
                    <a:lumOff val="60000"/>
                  </a:schemeClr>
                </a:gs>
                <a:gs pos="25000">
                  <a:schemeClr val="accent4">
                    <a:lumMod val="75000"/>
                  </a:schemeClr>
                </a:gs>
                <a:gs pos="25000">
                  <a:schemeClr val="accent4">
                    <a:lumMod val="50000"/>
                  </a:schemeClr>
                </a:gs>
                <a:gs pos="100000">
                  <a:schemeClr val="tx1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80" name="Isosceles Triangle 128"/>
            <p:cNvSpPr/>
            <p:nvPr/>
          </p:nvSpPr>
          <p:spPr>
            <a:xfrm>
              <a:off x="2335183" y="6096000"/>
              <a:ext cx="636618" cy="228599"/>
            </a:xfrm>
            <a:custGeom>
              <a:avLst/>
              <a:gdLst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513478 w 1513478"/>
                <a:gd name="connsiteY2" fmla="*/ 346376 h 346376"/>
                <a:gd name="connsiteX3" fmla="*/ 0 w 1513478"/>
                <a:gd name="connsiteY3" fmla="*/ 346376 h 346376"/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359694 w 1513478"/>
                <a:gd name="connsiteY2" fmla="*/ 294778 h 346376"/>
                <a:gd name="connsiteX3" fmla="*/ 1513478 w 1513478"/>
                <a:gd name="connsiteY3" fmla="*/ 346376 h 346376"/>
                <a:gd name="connsiteX4" fmla="*/ 0 w 1513478"/>
                <a:gd name="connsiteY4" fmla="*/ 346376 h 346376"/>
                <a:gd name="connsiteX0" fmla="*/ 0 w 1631054"/>
                <a:gd name="connsiteY0" fmla="*/ 346596 h 346596"/>
                <a:gd name="connsiteX1" fmla="*/ 0 w 1631054"/>
                <a:gd name="connsiteY1" fmla="*/ 220 h 346596"/>
                <a:gd name="connsiteX2" fmla="*/ 1359694 w 1631054"/>
                <a:gd name="connsiteY2" fmla="*/ 294998 h 346596"/>
                <a:gd name="connsiteX3" fmla="*/ 1513478 w 1631054"/>
                <a:gd name="connsiteY3" fmla="*/ 346596 h 346596"/>
                <a:gd name="connsiteX4" fmla="*/ 0 w 1631054"/>
                <a:gd name="connsiteY4" fmla="*/ 346596 h 346596"/>
                <a:gd name="connsiteX0" fmla="*/ 0 w 1692461"/>
                <a:gd name="connsiteY0" fmla="*/ 346716 h 346716"/>
                <a:gd name="connsiteX1" fmla="*/ 0 w 1692461"/>
                <a:gd name="connsiteY1" fmla="*/ 340 h 346716"/>
                <a:gd name="connsiteX2" fmla="*/ 1512094 w 1692461"/>
                <a:gd name="connsiteY2" fmla="*/ 206218 h 346716"/>
                <a:gd name="connsiteX3" fmla="*/ 1513478 w 1692461"/>
                <a:gd name="connsiteY3" fmla="*/ 346716 h 346716"/>
                <a:gd name="connsiteX4" fmla="*/ 0 w 1692461"/>
                <a:gd name="connsiteY4" fmla="*/ 346716 h 346716"/>
                <a:gd name="connsiteX0" fmla="*/ 0 w 1513478"/>
                <a:gd name="connsiteY0" fmla="*/ 346716 h 346716"/>
                <a:gd name="connsiteX1" fmla="*/ 0 w 1513478"/>
                <a:gd name="connsiteY1" fmla="*/ 340 h 346716"/>
                <a:gd name="connsiteX2" fmla="*/ 1512094 w 1513478"/>
                <a:gd name="connsiteY2" fmla="*/ 206218 h 346716"/>
                <a:gd name="connsiteX3" fmla="*/ 1513478 w 1513478"/>
                <a:gd name="connsiteY3" fmla="*/ 346716 h 346716"/>
                <a:gd name="connsiteX4" fmla="*/ 0 w 1513478"/>
                <a:gd name="connsiteY4" fmla="*/ 346716 h 34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3478" h="346716">
                  <a:moveTo>
                    <a:pt x="0" y="346716"/>
                  </a:moveTo>
                  <a:lnTo>
                    <a:pt x="0" y="340"/>
                  </a:lnTo>
                  <a:cubicBezTo>
                    <a:pt x="226616" y="-8260"/>
                    <a:pt x="1259848" y="148489"/>
                    <a:pt x="1512094" y="206218"/>
                  </a:cubicBezTo>
                  <a:cubicBezTo>
                    <a:pt x="1512555" y="253051"/>
                    <a:pt x="1513017" y="299883"/>
                    <a:pt x="1513478" y="346716"/>
                  </a:cubicBezTo>
                  <a:lnTo>
                    <a:pt x="0" y="346716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Isosceles Triangle 128"/>
            <p:cNvSpPr/>
            <p:nvPr/>
          </p:nvSpPr>
          <p:spPr>
            <a:xfrm>
              <a:off x="2971799" y="6172200"/>
              <a:ext cx="636618" cy="152399"/>
            </a:xfrm>
            <a:custGeom>
              <a:avLst/>
              <a:gdLst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513478 w 1513478"/>
                <a:gd name="connsiteY2" fmla="*/ 346376 h 346376"/>
                <a:gd name="connsiteX3" fmla="*/ 0 w 1513478"/>
                <a:gd name="connsiteY3" fmla="*/ 346376 h 346376"/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359694 w 1513478"/>
                <a:gd name="connsiteY2" fmla="*/ 294778 h 346376"/>
                <a:gd name="connsiteX3" fmla="*/ 1513478 w 1513478"/>
                <a:gd name="connsiteY3" fmla="*/ 346376 h 346376"/>
                <a:gd name="connsiteX4" fmla="*/ 0 w 1513478"/>
                <a:gd name="connsiteY4" fmla="*/ 346376 h 346376"/>
                <a:gd name="connsiteX0" fmla="*/ 0 w 1631054"/>
                <a:gd name="connsiteY0" fmla="*/ 346596 h 346596"/>
                <a:gd name="connsiteX1" fmla="*/ 0 w 1631054"/>
                <a:gd name="connsiteY1" fmla="*/ 220 h 346596"/>
                <a:gd name="connsiteX2" fmla="*/ 1359694 w 1631054"/>
                <a:gd name="connsiteY2" fmla="*/ 294998 h 346596"/>
                <a:gd name="connsiteX3" fmla="*/ 1513478 w 1631054"/>
                <a:gd name="connsiteY3" fmla="*/ 346596 h 346596"/>
                <a:gd name="connsiteX4" fmla="*/ 0 w 1631054"/>
                <a:gd name="connsiteY4" fmla="*/ 346596 h 346596"/>
                <a:gd name="connsiteX0" fmla="*/ 0 w 1692461"/>
                <a:gd name="connsiteY0" fmla="*/ 346716 h 346716"/>
                <a:gd name="connsiteX1" fmla="*/ 0 w 1692461"/>
                <a:gd name="connsiteY1" fmla="*/ 340 h 346716"/>
                <a:gd name="connsiteX2" fmla="*/ 1512094 w 1692461"/>
                <a:gd name="connsiteY2" fmla="*/ 206218 h 346716"/>
                <a:gd name="connsiteX3" fmla="*/ 1513478 w 1692461"/>
                <a:gd name="connsiteY3" fmla="*/ 346716 h 346716"/>
                <a:gd name="connsiteX4" fmla="*/ 0 w 1692461"/>
                <a:gd name="connsiteY4" fmla="*/ 346716 h 346716"/>
                <a:gd name="connsiteX0" fmla="*/ 0 w 1513478"/>
                <a:gd name="connsiteY0" fmla="*/ 346716 h 346716"/>
                <a:gd name="connsiteX1" fmla="*/ 0 w 1513478"/>
                <a:gd name="connsiteY1" fmla="*/ 340 h 346716"/>
                <a:gd name="connsiteX2" fmla="*/ 1512094 w 1513478"/>
                <a:gd name="connsiteY2" fmla="*/ 206218 h 346716"/>
                <a:gd name="connsiteX3" fmla="*/ 1513478 w 1513478"/>
                <a:gd name="connsiteY3" fmla="*/ 346716 h 346716"/>
                <a:gd name="connsiteX4" fmla="*/ 0 w 1513478"/>
                <a:gd name="connsiteY4" fmla="*/ 346716 h 34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3478" h="346716">
                  <a:moveTo>
                    <a:pt x="0" y="346716"/>
                  </a:moveTo>
                  <a:lnTo>
                    <a:pt x="0" y="340"/>
                  </a:lnTo>
                  <a:cubicBezTo>
                    <a:pt x="226616" y="-8260"/>
                    <a:pt x="1259848" y="148489"/>
                    <a:pt x="1512094" y="206218"/>
                  </a:cubicBezTo>
                  <a:cubicBezTo>
                    <a:pt x="1512555" y="253051"/>
                    <a:pt x="1513017" y="299883"/>
                    <a:pt x="1513478" y="346716"/>
                  </a:cubicBezTo>
                  <a:lnTo>
                    <a:pt x="0" y="346716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Isosceles Triangle 128"/>
            <p:cNvSpPr/>
            <p:nvPr/>
          </p:nvSpPr>
          <p:spPr>
            <a:xfrm>
              <a:off x="3608417" y="6248399"/>
              <a:ext cx="636618" cy="75188"/>
            </a:xfrm>
            <a:custGeom>
              <a:avLst/>
              <a:gdLst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513478 w 1513478"/>
                <a:gd name="connsiteY2" fmla="*/ 346376 h 346376"/>
                <a:gd name="connsiteX3" fmla="*/ 0 w 1513478"/>
                <a:gd name="connsiteY3" fmla="*/ 346376 h 346376"/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359694 w 1513478"/>
                <a:gd name="connsiteY2" fmla="*/ 294778 h 346376"/>
                <a:gd name="connsiteX3" fmla="*/ 1513478 w 1513478"/>
                <a:gd name="connsiteY3" fmla="*/ 346376 h 346376"/>
                <a:gd name="connsiteX4" fmla="*/ 0 w 1513478"/>
                <a:gd name="connsiteY4" fmla="*/ 346376 h 346376"/>
                <a:gd name="connsiteX0" fmla="*/ 0 w 1631054"/>
                <a:gd name="connsiteY0" fmla="*/ 346596 h 346596"/>
                <a:gd name="connsiteX1" fmla="*/ 0 w 1631054"/>
                <a:gd name="connsiteY1" fmla="*/ 220 h 346596"/>
                <a:gd name="connsiteX2" fmla="*/ 1359694 w 1631054"/>
                <a:gd name="connsiteY2" fmla="*/ 294998 h 346596"/>
                <a:gd name="connsiteX3" fmla="*/ 1513478 w 1631054"/>
                <a:gd name="connsiteY3" fmla="*/ 346596 h 346596"/>
                <a:gd name="connsiteX4" fmla="*/ 0 w 1631054"/>
                <a:gd name="connsiteY4" fmla="*/ 346596 h 346596"/>
                <a:gd name="connsiteX0" fmla="*/ 0 w 1692461"/>
                <a:gd name="connsiteY0" fmla="*/ 346716 h 346716"/>
                <a:gd name="connsiteX1" fmla="*/ 0 w 1692461"/>
                <a:gd name="connsiteY1" fmla="*/ 340 h 346716"/>
                <a:gd name="connsiteX2" fmla="*/ 1512094 w 1692461"/>
                <a:gd name="connsiteY2" fmla="*/ 206218 h 346716"/>
                <a:gd name="connsiteX3" fmla="*/ 1513478 w 1692461"/>
                <a:gd name="connsiteY3" fmla="*/ 346716 h 346716"/>
                <a:gd name="connsiteX4" fmla="*/ 0 w 1692461"/>
                <a:gd name="connsiteY4" fmla="*/ 346716 h 346716"/>
                <a:gd name="connsiteX0" fmla="*/ 0 w 1513478"/>
                <a:gd name="connsiteY0" fmla="*/ 346716 h 346716"/>
                <a:gd name="connsiteX1" fmla="*/ 0 w 1513478"/>
                <a:gd name="connsiteY1" fmla="*/ 340 h 346716"/>
                <a:gd name="connsiteX2" fmla="*/ 1512094 w 1513478"/>
                <a:gd name="connsiteY2" fmla="*/ 206218 h 346716"/>
                <a:gd name="connsiteX3" fmla="*/ 1513478 w 1513478"/>
                <a:gd name="connsiteY3" fmla="*/ 346716 h 346716"/>
                <a:gd name="connsiteX4" fmla="*/ 0 w 1513478"/>
                <a:gd name="connsiteY4" fmla="*/ 346716 h 34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3478" h="346716">
                  <a:moveTo>
                    <a:pt x="0" y="346716"/>
                  </a:moveTo>
                  <a:lnTo>
                    <a:pt x="0" y="340"/>
                  </a:lnTo>
                  <a:cubicBezTo>
                    <a:pt x="226616" y="-8260"/>
                    <a:pt x="1259848" y="148489"/>
                    <a:pt x="1512094" y="206218"/>
                  </a:cubicBezTo>
                  <a:cubicBezTo>
                    <a:pt x="1512555" y="253051"/>
                    <a:pt x="1513017" y="299883"/>
                    <a:pt x="1513478" y="346716"/>
                  </a:cubicBezTo>
                  <a:lnTo>
                    <a:pt x="0" y="346716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Isosceles Triangle 128"/>
            <p:cNvSpPr/>
            <p:nvPr/>
          </p:nvSpPr>
          <p:spPr>
            <a:xfrm>
              <a:off x="4255933" y="6278880"/>
              <a:ext cx="636618" cy="45719"/>
            </a:xfrm>
            <a:custGeom>
              <a:avLst/>
              <a:gdLst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513478 w 1513478"/>
                <a:gd name="connsiteY2" fmla="*/ 346376 h 346376"/>
                <a:gd name="connsiteX3" fmla="*/ 0 w 1513478"/>
                <a:gd name="connsiteY3" fmla="*/ 346376 h 346376"/>
                <a:gd name="connsiteX0" fmla="*/ 0 w 1513478"/>
                <a:gd name="connsiteY0" fmla="*/ 346376 h 346376"/>
                <a:gd name="connsiteX1" fmla="*/ 0 w 1513478"/>
                <a:gd name="connsiteY1" fmla="*/ 0 h 346376"/>
                <a:gd name="connsiteX2" fmla="*/ 1359694 w 1513478"/>
                <a:gd name="connsiteY2" fmla="*/ 294778 h 346376"/>
                <a:gd name="connsiteX3" fmla="*/ 1513478 w 1513478"/>
                <a:gd name="connsiteY3" fmla="*/ 346376 h 346376"/>
                <a:gd name="connsiteX4" fmla="*/ 0 w 1513478"/>
                <a:gd name="connsiteY4" fmla="*/ 346376 h 346376"/>
                <a:gd name="connsiteX0" fmla="*/ 0 w 1631054"/>
                <a:gd name="connsiteY0" fmla="*/ 346596 h 346596"/>
                <a:gd name="connsiteX1" fmla="*/ 0 w 1631054"/>
                <a:gd name="connsiteY1" fmla="*/ 220 h 346596"/>
                <a:gd name="connsiteX2" fmla="*/ 1359694 w 1631054"/>
                <a:gd name="connsiteY2" fmla="*/ 294998 h 346596"/>
                <a:gd name="connsiteX3" fmla="*/ 1513478 w 1631054"/>
                <a:gd name="connsiteY3" fmla="*/ 346596 h 346596"/>
                <a:gd name="connsiteX4" fmla="*/ 0 w 1631054"/>
                <a:gd name="connsiteY4" fmla="*/ 346596 h 346596"/>
                <a:gd name="connsiteX0" fmla="*/ 0 w 1692461"/>
                <a:gd name="connsiteY0" fmla="*/ 346716 h 346716"/>
                <a:gd name="connsiteX1" fmla="*/ 0 w 1692461"/>
                <a:gd name="connsiteY1" fmla="*/ 340 h 346716"/>
                <a:gd name="connsiteX2" fmla="*/ 1512094 w 1692461"/>
                <a:gd name="connsiteY2" fmla="*/ 206218 h 346716"/>
                <a:gd name="connsiteX3" fmla="*/ 1513478 w 1692461"/>
                <a:gd name="connsiteY3" fmla="*/ 346716 h 346716"/>
                <a:gd name="connsiteX4" fmla="*/ 0 w 1692461"/>
                <a:gd name="connsiteY4" fmla="*/ 346716 h 346716"/>
                <a:gd name="connsiteX0" fmla="*/ 0 w 1513478"/>
                <a:gd name="connsiteY0" fmla="*/ 346716 h 346716"/>
                <a:gd name="connsiteX1" fmla="*/ 0 w 1513478"/>
                <a:gd name="connsiteY1" fmla="*/ 340 h 346716"/>
                <a:gd name="connsiteX2" fmla="*/ 1512094 w 1513478"/>
                <a:gd name="connsiteY2" fmla="*/ 206218 h 346716"/>
                <a:gd name="connsiteX3" fmla="*/ 1513478 w 1513478"/>
                <a:gd name="connsiteY3" fmla="*/ 346716 h 346716"/>
                <a:gd name="connsiteX4" fmla="*/ 0 w 1513478"/>
                <a:gd name="connsiteY4" fmla="*/ 346716 h 3467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13478" h="346716">
                  <a:moveTo>
                    <a:pt x="0" y="346716"/>
                  </a:moveTo>
                  <a:lnTo>
                    <a:pt x="0" y="340"/>
                  </a:lnTo>
                  <a:cubicBezTo>
                    <a:pt x="226616" y="-8260"/>
                    <a:pt x="1259848" y="148489"/>
                    <a:pt x="1512094" y="206218"/>
                  </a:cubicBezTo>
                  <a:cubicBezTo>
                    <a:pt x="1512555" y="253051"/>
                    <a:pt x="1513017" y="299883"/>
                    <a:pt x="1513478" y="346716"/>
                  </a:cubicBezTo>
                  <a:lnTo>
                    <a:pt x="0" y="346716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335182" y="5212496"/>
              <a:ext cx="636618" cy="1112104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971800" y="5212496"/>
              <a:ext cx="636618" cy="1112104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3608766" y="5212496"/>
              <a:ext cx="636618" cy="1112104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4245384" y="5211483"/>
              <a:ext cx="636618" cy="1112104"/>
            </a:xfrm>
            <a:prstGeom prst="rect">
              <a:avLst/>
            </a:prstGeom>
            <a:noFill/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2948940" y="5345576"/>
              <a:ext cx="60449" cy="911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3589368" y="5339226"/>
              <a:ext cx="60449" cy="911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229100" y="5345576"/>
              <a:ext cx="60449" cy="911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4873501" y="5345576"/>
              <a:ext cx="60449" cy="911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2309972" y="5355103"/>
              <a:ext cx="60449" cy="64008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kern="0">
                <a:solidFill>
                  <a:srgbClr val="FF0000"/>
                </a:solidFill>
                <a:latin typeface="Calibri"/>
              </a:endParaRPr>
            </a:p>
          </p:txBody>
        </p:sp>
        <p:cxnSp>
          <p:nvCxnSpPr>
            <p:cNvPr id="68" name="Straight Connector 61"/>
            <p:cNvCxnSpPr/>
            <p:nvPr/>
          </p:nvCxnSpPr>
          <p:spPr>
            <a:xfrm rot="10800000" flipH="1">
              <a:off x="2834640" y="5389880"/>
              <a:ext cx="228600" cy="640080"/>
            </a:xfrm>
            <a:prstGeom prst="bentConnector3">
              <a:avLst>
                <a:gd name="adj1" fmla="val 2100"/>
              </a:avLst>
            </a:prstGeom>
            <a:ln w="114300" cap="sq" cmpd="dbl">
              <a:solidFill>
                <a:srgbClr val="0000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61"/>
            <p:cNvCxnSpPr/>
            <p:nvPr/>
          </p:nvCxnSpPr>
          <p:spPr>
            <a:xfrm rot="10800000" flipH="1">
              <a:off x="3494118" y="5383530"/>
              <a:ext cx="228600" cy="640080"/>
            </a:xfrm>
            <a:prstGeom prst="bentConnector3">
              <a:avLst>
                <a:gd name="adj1" fmla="val 2100"/>
              </a:avLst>
            </a:prstGeom>
            <a:ln w="114300" cap="sq" cmpd="dbl">
              <a:solidFill>
                <a:srgbClr val="0000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61"/>
            <p:cNvCxnSpPr/>
            <p:nvPr/>
          </p:nvCxnSpPr>
          <p:spPr>
            <a:xfrm rot="10800000" flipH="1">
              <a:off x="4114800" y="5389880"/>
              <a:ext cx="228600" cy="640080"/>
            </a:xfrm>
            <a:prstGeom prst="bentConnector3">
              <a:avLst>
                <a:gd name="adj1" fmla="val 2100"/>
              </a:avLst>
            </a:prstGeom>
            <a:ln w="114300" cap="sq" cmpd="dbl">
              <a:solidFill>
                <a:srgbClr val="0000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rot="10800000">
              <a:off x="2401890" y="5389880"/>
              <a:ext cx="100584" cy="640080"/>
            </a:xfrm>
            <a:prstGeom prst="bentConnector3">
              <a:avLst>
                <a:gd name="adj1" fmla="val 2100"/>
              </a:avLst>
            </a:prstGeom>
            <a:ln w="114300" cap="sq" cmpd="dbl">
              <a:solidFill>
                <a:srgbClr val="0000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/>
            <p:cNvSpPr/>
            <p:nvPr/>
          </p:nvSpPr>
          <p:spPr>
            <a:xfrm>
              <a:off x="4495800" y="5029200"/>
              <a:ext cx="120898" cy="304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cxnSp>
          <p:nvCxnSpPr>
            <p:cNvPr id="53" name="Straight Connector 52"/>
            <p:cNvCxnSpPr>
              <a:stCxn id="51" idx="0"/>
              <a:endCxn id="51" idx="2"/>
            </p:cNvCxnSpPr>
            <p:nvPr/>
          </p:nvCxnSpPr>
          <p:spPr>
            <a:xfrm>
              <a:off x="4556249" y="5029200"/>
              <a:ext cx="0" cy="304800"/>
            </a:xfrm>
            <a:prstGeom prst="line">
              <a:avLst/>
            </a:prstGeom>
            <a:ln w="114300" cmpd="dbl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61"/>
            <p:cNvCxnSpPr/>
            <p:nvPr/>
          </p:nvCxnSpPr>
          <p:spPr>
            <a:xfrm rot="10800000" flipH="1">
              <a:off x="4743267" y="5389880"/>
              <a:ext cx="731520" cy="640080"/>
            </a:xfrm>
            <a:prstGeom prst="bentConnector3">
              <a:avLst>
                <a:gd name="adj1" fmla="val 2100"/>
              </a:avLst>
            </a:prstGeom>
            <a:ln w="114300" cap="sq" cmpd="dbl">
              <a:solidFill>
                <a:srgbClr val="0000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Bent Arrow 42"/>
          <p:cNvSpPr/>
          <p:nvPr/>
        </p:nvSpPr>
        <p:spPr>
          <a:xfrm flipV="1">
            <a:off x="1689078" y="4781621"/>
            <a:ext cx="646104" cy="677454"/>
          </a:xfrm>
          <a:prstGeom prst="bentArrow">
            <a:avLst>
              <a:gd name="adj1" fmla="val 14769"/>
              <a:gd name="adj2" fmla="val 11235"/>
              <a:gd name="adj3" fmla="val 0"/>
              <a:gd name="adj4" fmla="val 43750"/>
            </a:avLst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295400" y="2438400"/>
            <a:ext cx="1039782" cy="1857430"/>
            <a:chOff x="1295400" y="2846725"/>
            <a:chExt cx="1039782" cy="1857430"/>
          </a:xfrm>
        </p:grpSpPr>
        <p:sp>
          <p:nvSpPr>
            <p:cNvPr id="16" name="Rectangle 15"/>
            <p:cNvSpPr/>
            <p:nvPr/>
          </p:nvSpPr>
          <p:spPr>
            <a:xfrm>
              <a:off x="1647140" y="3537526"/>
              <a:ext cx="114985" cy="116662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6" name="Trapezoid 5"/>
            <p:cNvSpPr/>
            <p:nvPr/>
          </p:nvSpPr>
          <p:spPr>
            <a:xfrm flipV="1">
              <a:off x="1295400" y="3004126"/>
              <a:ext cx="838200" cy="533400"/>
            </a:xfrm>
            <a:prstGeom prst="trapezoid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7" name="Round Same Side Corner Rectangle 6"/>
            <p:cNvSpPr/>
            <p:nvPr/>
          </p:nvSpPr>
          <p:spPr>
            <a:xfrm>
              <a:off x="1295400" y="2846725"/>
              <a:ext cx="838200" cy="15740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8" name="Trapezoid 7"/>
            <p:cNvSpPr/>
            <p:nvPr/>
          </p:nvSpPr>
          <p:spPr>
            <a:xfrm rot="5400000">
              <a:off x="2038349" y="2831425"/>
              <a:ext cx="151150" cy="344151"/>
            </a:xfrm>
            <a:prstGeom prst="trapezoid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8" name="Oval 17"/>
            <p:cNvSpPr/>
            <p:nvPr/>
          </p:nvSpPr>
          <p:spPr>
            <a:xfrm>
              <a:off x="2261411" y="3000645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2261411" y="3060583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>
            <a:xfrm>
              <a:off x="2260634" y="3126520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2261411" y="3186848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2261411" y="3246786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6" name="Oval 25"/>
            <p:cNvSpPr/>
            <p:nvPr/>
          </p:nvSpPr>
          <p:spPr>
            <a:xfrm>
              <a:off x="2260634" y="3312723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2256647" y="3375869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2256647" y="3435807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2255870" y="3501744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30" name="Oval 29"/>
            <p:cNvSpPr/>
            <p:nvPr/>
          </p:nvSpPr>
          <p:spPr>
            <a:xfrm>
              <a:off x="2256647" y="3562072"/>
              <a:ext cx="41563" cy="90214"/>
            </a:xfrm>
            <a:prstGeom prst="ellipse">
              <a:avLst/>
            </a:prstGeom>
            <a:noFill/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2228852" y="3633922"/>
              <a:ext cx="106330" cy="8966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0000"/>
                </a:solidFill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406474" y="4308454"/>
            <a:ext cx="1545441" cy="482829"/>
          </a:xfrm>
          <a:prstGeom prst="rect">
            <a:avLst/>
          </a:prstGeom>
          <a:pattFill prst="ltDnDiag">
            <a:fgClr>
              <a:sysClr val="windowText" lastClr="000000"/>
            </a:fgClr>
            <a:bgClr>
              <a:sysClr val="window" lastClr="FFFFFF"/>
            </a:bgClr>
          </a:patt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37065" y="4226679"/>
            <a:ext cx="369175" cy="573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324535" y="3942695"/>
            <a:ext cx="459283" cy="353135"/>
          </a:xfrm>
          <a:custGeom>
            <a:avLst/>
            <a:gdLst>
              <a:gd name="connsiteX0" fmla="*/ 0 w 516732"/>
              <a:gd name="connsiteY0" fmla="*/ 42862 h 392906"/>
              <a:gd name="connsiteX1" fmla="*/ 359569 w 516732"/>
              <a:gd name="connsiteY1" fmla="*/ 0 h 392906"/>
              <a:gd name="connsiteX2" fmla="*/ 359569 w 516732"/>
              <a:gd name="connsiteY2" fmla="*/ 9525 h 392906"/>
              <a:gd name="connsiteX3" fmla="*/ 404813 w 516732"/>
              <a:gd name="connsiteY3" fmla="*/ 19050 h 392906"/>
              <a:gd name="connsiteX4" fmla="*/ 516732 w 516732"/>
              <a:gd name="connsiteY4" fmla="*/ 273844 h 392906"/>
              <a:gd name="connsiteX5" fmla="*/ 490538 w 516732"/>
              <a:gd name="connsiteY5" fmla="*/ 285750 h 392906"/>
              <a:gd name="connsiteX6" fmla="*/ 383382 w 516732"/>
              <a:gd name="connsiteY6" fmla="*/ 52387 h 392906"/>
              <a:gd name="connsiteX7" fmla="*/ 350044 w 516732"/>
              <a:gd name="connsiteY7" fmla="*/ 54769 h 392906"/>
              <a:gd name="connsiteX8" fmla="*/ 340519 w 516732"/>
              <a:gd name="connsiteY8" fmla="*/ 83344 h 392906"/>
              <a:gd name="connsiteX9" fmla="*/ 335757 w 516732"/>
              <a:gd name="connsiteY9" fmla="*/ 388144 h 392906"/>
              <a:gd name="connsiteX10" fmla="*/ 104775 w 516732"/>
              <a:gd name="connsiteY10" fmla="*/ 392906 h 392906"/>
              <a:gd name="connsiteX11" fmla="*/ 57150 w 516732"/>
              <a:gd name="connsiteY11" fmla="*/ 83344 h 392906"/>
              <a:gd name="connsiteX12" fmla="*/ 0 w 516732"/>
              <a:gd name="connsiteY12" fmla="*/ 42862 h 39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16732" h="392906">
                <a:moveTo>
                  <a:pt x="0" y="42862"/>
                </a:moveTo>
                <a:lnTo>
                  <a:pt x="359569" y="0"/>
                </a:lnTo>
                <a:lnTo>
                  <a:pt x="359569" y="9525"/>
                </a:lnTo>
                <a:lnTo>
                  <a:pt x="404813" y="19050"/>
                </a:lnTo>
                <a:cubicBezTo>
                  <a:pt x="442414" y="103851"/>
                  <a:pt x="516732" y="181080"/>
                  <a:pt x="516732" y="273844"/>
                </a:cubicBezTo>
                <a:lnTo>
                  <a:pt x="490538" y="285750"/>
                </a:lnTo>
                <a:lnTo>
                  <a:pt x="383382" y="52387"/>
                </a:lnTo>
                <a:lnTo>
                  <a:pt x="350044" y="54769"/>
                </a:lnTo>
                <a:lnTo>
                  <a:pt x="340519" y="83344"/>
                </a:lnTo>
                <a:cubicBezTo>
                  <a:pt x="338932" y="184944"/>
                  <a:pt x="337344" y="286544"/>
                  <a:pt x="335757" y="388144"/>
                </a:cubicBezTo>
                <a:lnTo>
                  <a:pt x="104775" y="392906"/>
                </a:lnTo>
                <a:lnTo>
                  <a:pt x="57150" y="83344"/>
                </a:lnTo>
                <a:lnTo>
                  <a:pt x="0" y="428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1699293" y="4772028"/>
            <a:ext cx="73152" cy="6400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89" name="Oval 88"/>
          <p:cNvSpPr/>
          <p:nvPr/>
        </p:nvSpPr>
        <p:spPr>
          <a:xfrm>
            <a:off x="2663247" y="563880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2" name="Oval 91"/>
          <p:cNvSpPr/>
          <p:nvPr/>
        </p:nvSpPr>
        <p:spPr>
          <a:xfrm>
            <a:off x="2617528" y="572262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3" name="Oval 92"/>
          <p:cNvSpPr/>
          <p:nvPr/>
        </p:nvSpPr>
        <p:spPr>
          <a:xfrm>
            <a:off x="2585171" y="559752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4" name="Oval 93"/>
          <p:cNvSpPr/>
          <p:nvPr/>
        </p:nvSpPr>
        <p:spPr>
          <a:xfrm>
            <a:off x="2695603" y="576753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5" name="Oval 94"/>
          <p:cNvSpPr/>
          <p:nvPr/>
        </p:nvSpPr>
        <p:spPr>
          <a:xfrm>
            <a:off x="2598534" y="582197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6" name="Oval 95"/>
          <p:cNvSpPr/>
          <p:nvPr/>
        </p:nvSpPr>
        <p:spPr>
          <a:xfrm>
            <a:off x="2696296" y="587502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7" name="Oval 96"/>
          <p:cNvSpPr/>
          <p:nvPr/>
        </p:nvSpPr>
        <p:spPr>
          <a:xfrm>
            <a:off x="2630890" y="5945102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8" name="Oval 97"/>
          <p:cNvSpPr/>
          <p:nvPr/>
        </p:nvSpPr>
        <p:spPr>
          <a:xfrm>
            <a:off x="2604165" y="6022676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9" name="Oval 98"/>
          <p:cNvSpPr/>
          <p:nvPr/>
        </p:nvSpPr>
        <p:spPr>
          <a:xfrm>
            <a:off x="2694476" y="602551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0" name="Oval 99"/>
          <p:cNvSpPr/>
          <p:nvPr/>
        </p:nvSpPr>
        <p:spPr>
          <a:xfrm>
            <a:off x="3141981" y="563596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1" name="Oval 100"/>
          <p:cNvSpPr/>
          <p:nvPr/>
        </p:nvSpPr>
        <p:spPr>
          <a:xfrm>
            <a:off x="3096262" y="571978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2" name="Oval 101"/>
          <p:cNvSpPr/>
          <p:nvPr/>
        </p:nvSpPr>
        <p:spPr>
          <a:xfrm>
            <a:off x="3063905" y="559468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3" name="Oval 102"/>
          <p:cNvSpPr/>
          <p:nvPr/>
        </p:nvSpPr>
        <p:spPr>
          <a:xfrm>
            <a:off x="3174337" y="576469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3077268" y="581913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3175030" y="587218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6" name="Oval 105"/>
          <p:cNvSpPr/>
          <p:nvPr/>
        </p:nvSpPr>
        <p:spPr>
          <a:xfrm>
            <a:off x="3109624" y="5942262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3082899" y="6019836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08" name="Oval 107"/>
          <p:cNvSpPr/>
          <p:nvPr/>
        </p:nvSpPr>
        <p:spPr>
          <a:xfrm>
            <a:off x="3173210" y="602267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18" name="Oval 117"/>
          <p:cNvSpPr/>
          <p:nvPr/>
        </p:nvSpPr>
        <p:spPr>
          <a:xfrm>
            <a:off x="3336490" y="562703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19" name="Oval 118"/>
          <p:cNvSpPr/>
          <p:nvPr/>
        </p:nvSpPr>
        <p:spPr>
          <a:xfrm>
            <a:off x="3290771" y="571085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0" name="Oval 119"/>
          <p:cNvSpPr/>
          <p:nvPr/>
        </p:nvSpPr>
        <p:spPr>
          <a:xfrm>
            <a:off x="3258414" y="558576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1" name="Oval 120"/>
          <p:cNvSpPr/>
          <p:nvPr/>
        </p:nvSpPr>
        <p:spPr>
          <a:xfrm>
            <a:off x="3368846" y="575577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2" name="Oval 121"/>
          <p:cNvSpPr/>
          <p:nvPr/>
        </p:nvSpPr>
        <p:spPr>
          <a:xfrm>
            <a:off x="3271777" y="581021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3" name="Oval 122"/>
          <p:cNvSpPr/>
          <p:nvPr/>
        </p:nvSpPr>
        <p:spPr>
          <a:xfrm>
            <a:off x="3369539" y="586325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4" name="Oval 123"/>
          <p:cNvSpPr/>
          <p:nvPr/>
        </p:nvSpPr>
        <p:spPr>
          <a:xfrm>
            <a:off x="3304133" y="5933337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5" name="Oval 124"/>
          <p:cNvSpPr/>
          <p:nvPr/>
        </p:nvSpPr>
        <p:spPr>
          <a:xfrm>
            <a:off x="3277408" y="6010911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6" name="Oval 125"/>
          <p:cNvSpPr/>
          <p:nvPr/>
        </p:nvSpPr>
        <p:spPr>
          <a:xfrm>
            <a:off x="3367719" y="601375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7" name="Oval 126"/>
          <p:cNvSpPr/>
          <p:nvPr/>
        </p:nvSpPr>
        <p:spPr>
          <a:xfrm>
            <a:off x="3731676" y="563596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8" name="Oval 127"/>
          <p:cNvSpPr/>
          <p:nvPr/>
        </p:nvSpPr>
        <p:spPr>
          <a:xfrm>
            <a:off x="3685957" y="571978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29" name="Oval 128"/>
          <p:cNvSpPr/>
          <p:nvPr/>
        </p:nvSpPr>
        <p:spPr>
          <a:xfrm>
            <a:off x="3653600" y="559468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0" name="Oval 129"/>
          <p:cNvSpPr/>
          <p:nvPr/>
        </p:nvSpPr>
        <p:spPr>
          <a:xfrm>
            <a:off x="3764032" y="576469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1" name="Oval 130"/>
          <p:cNvSpPr/>
          <p:nvPr/>
        </p:nvSpPr>
        <p:spPr>
          <a:xfrm>
            <a:off x="3666963" y="581913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2" name="Oval 131"/>
          <p:cNvSpPr/>
          <p:nvPr/>
        </p:nvSpPr>
        <p:spPr>
          <a:xfrm>
            <a:off x="3764725" y="587218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3" name="Oval 132"/>
          <p:cNvSpPr/>
          <p:nvPr/>
        </p:nvSpPr>
        <p:spPr>
          <a:xfrm>
            <a:off x="3699319" y="5942262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4" name="Oval 133"/>
          <p:cNvSpPr/>
          <p:nvPr/>
        </p:nvSpPr>
        <p:spPr>
          <a:xfrm>
            <a:off x="3672594" y="6019836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5" name="Oval 134"/>
          <p:cNvSpPr/>
          <p:nvPr/>
        </p:nvSpPr>
        <p:spPr>
          <a:xfrm>
            <a:off x="3762905" y="602267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6" name="Oval 135"/>
          <p:cNvSpPr/>
          <p:nvPr/>
        </p:nvSpPr>
        <p:spPr>
          <a:xfrm>
            <a:off x="3926185" y="562703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7" name="Oval 136"/>
          <p:cNvSpPr/>
          <p:nvPr/>
        </p:nvSpPr>
        <p:spPr>
          <a:xfrm>
            <a:off x="3880466" y="571085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8" name="Oval 137"/>
          <p:cNvSpPr/>
          <p:nvPr/>
        </p:nvSpPr>
        <p:spPr>
          <a:xfrm>
            <a:off x="3848109" y="558576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39" name="Oval 138"/>
          <p:cNvSpPr/>
          <p:nvPr/>
        </p:nvSpPr>
        <p:spPr>
          <a:xfrm>
            <a:off x="3958541" y="575577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0" name="Oval 139"/>
          <p:cNvSpPr/>
          <p:nvPr/>
        </p:nvSpPr>
        <p:spPr>
          <a:xfrm>
            <a:off x="3861472" y="581021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1" name="Oval 140"/>
          <p:cNvSpPr/>
          <p:nvPr/>
        </p:nvSpPr>
        <p:spPr>
          <a:xfrm>
            <a:off x="3959234" y="586325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3893828" y="5933337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3" name="Oval 142"/>
          <p:cNvSpPr/>
          <p:nvPr/>
        </p:nvSpPr>
        <p:spPr>
          <a:xfrm>
            <a:off x="3867103" y="6010911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4" name="Oval 143"/>
          <p:cNvSpPr/>
          <p:nvPr/>
        </p:nvSpPr>
        <p:spPr>
          <a:xfrm>
            <a:off x="3957414" y="601375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5" name="Oval 144"/>
          <p:cNvSpPr/>
          <p:nvPr/>
        </p:nvSpPr>
        <p:spPr>
          <a:xfrm>
            <a:off x="4384731" y="562946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6" name="Oval 145"/>
          <p:cNvSpPr/>
          <p:nvPr/>
        </p:nvSpPr>
        <p:spPr>
          <a:xfrm>
            <a:off x="4339012" y="571328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7" name="Oval 146"/>
          <p:cNvSpPr/>
          <p:nvPr/>
        </p:nvSpPr>
        <p:spPr>
          <a:xfrm>
            <a:off x="4306655" y="558819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8" name="Oval 147"/>
          <p:cNvSpPr/>
          <p:nvPr/>
        </p:nvSpPr>
        <p:spPr>
          <a:xfrm>
            <a:off x="4417087" y="575820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49" name="Oval 148"/>
          <p:cNvSpPr/>
          <p:nvPr/>
        </p:nvSpPr>
        <p:spPr>
          <a:xfrm>
            <a:off x="4320018" y="581264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0" name="Oval 149"/>
          <p:cNvSpPr/>
          <p:nvPr/>
        </p:nvSpPr>
        <p:spPr>
          <a:xfrm>
            <a:off x="4417780" y="586568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1" name="Oval 150"/>
          <p:cNvSpPr/>
          <p:nvPr/>
        </p:nvSpPr>
        <p:spPr>
          <a:xfrm>
            <a:off x="4352374" y="5935767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2" name="Oval 151"/>
          <p:cNvSpPr/>
          <p:nvPr/>
        </p:nvSpPr>
        <p:spPr>
          <a:xfrm>
            <a:off x="4325649" y="6013341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3" name="Oval 152"/>
          <p:cNvSpPr/>
          <p:nvPr/>
        </p:nvSpPr>
        <p:spPr>
          <a:xfrm>
            <a:off x="4415960" y="601618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4" name="Oval 153"/>
          <p:cNvSpPr/>
          <p:nvPr/>
        </p:nvSpPr>
        <p:spPr>
          <a:xfrm>
            <a:off x="4579240" y="5620540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5" name="Oval 154"/>
          <p:cNvSpPr/>
          <p:nvPr/>
        </p:nvSpPr>
        <p:spPr>
          <a:xfrm>
            <a:off x="4533521" y="570436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6" name="Oval 155"/>
          <p:cNvSpPr/>
          <p:nvPr/>
        </p:nvSpPr>
        <p:spPr>
          <a:xfrm>
            <a:off x="4501164" y="557926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4611596" y="574927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8" name="Oval 157"/>
          <p:cNvSpPr/>
          <p:nvPr/>
        </p:nvSpPr>
        <p:spPr>
          <a:xfrm>
            <a:off x="4514527" y="5803715"/>
            <a:ext cx="64713" cy="64770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59" name="Oval 158"/>
          <p:cNvSpPr/>
          <p:nvPr/>
        </p:nvSpPr>
        <p:spPr>
          <a:xfrm>
            <a:off x="4612289" y="5856760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60" name="Oval 159"/>
          <p:cNvSpPr/>
          <p:nvPr/>
        </p:nvSpPr>
        <p:spPr>
          <a:xfrm>
            <a:off x="4546883" y="5926842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61" name="Oval 160"/>
          <p:cNvSpPr/>
          <p:nvPr/>
        </p:nvSpPr>
        <p:spPr>
          <a:xfrm>
            <a:off x="4520158" y="6004416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62" name="Oval 161"/>
          <p:cNvSpPr/>
          <p:nvPr/>
        </p:nvSpPr>
        <p:spPr>
          <a:xfrm>
            <a:off x="4610469" y="6007255"/>
            <a:ext cx="45719" cy="45928"/>
          </a:xfrm>
          <a:prstGeom prst="ellipse">
            <a:avLst/>
          </a:prstGeom>
          <a:noFill/>
          <a:ln w="3175"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pic>
        <p:nvPicPr>
          <p:cNvPr id="164" name="Picture 2" descr="http://cache1.asset-cache.net/xc/463374171.jpg?v=2&amp;c=IWSAsset&amp;k=2&amp;d=RZwXqxFcUXFLdHMUedt7Nbe78nCF2HZGgynLBAv02Ym7uYvNkaChfkCtY_ENgaIq0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880"/>
          <a:stretch/>
        </p:blipFill>
        <p:spPr bwMode="auto">
          <a:xfrm flipH="1">
            <a:off x="5743206" y="4664945"/>
            <a:ext cx="1766304" cy="828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58" name="Picture 2" descr="http://cache1.asset-cache.net/xc/463374171.jpg?v=2&amp;c=IWSAsset&amp;k=2&amp;d=RZwXqxFcUXFLdHMUedt7Nbe78nCF2HZGgynLBAv02Ym7uYvNkaChfkCtY_ENgaIq0"/>
          <p:cNvPicPr>
            <a:picLocks noChangeAspect="1" noChangeArrowheads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880"/>
          <a:stretch/>
        </p:blipFill>
        <p:spPr bwMode="auto">
          <a:xfrm>
            <a:off x="5423535" y="4673036"/>
            <a:ext cx="1766304" cy="828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5" name="Rectangle 164"/>
          <p:cNvSpPr/>
          <p:nvPr/>
        </p:nvSpPr>
        <p:spPr>
          <a:xfrm>
            <a:off x="5274660" y="5370673"/>
            <a:ext cx="182880" cy="36576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US" kern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90" name="Can 89"/>
          <p:cNvSpPr/>
          <p:nvPr/>
        </p:nvSpPr>
        <p:spPr>
          <a:xfrm rot="5400000">
            <a:off x="8380124" y="4842248"/>
            <a:ext cx="304800" cy="460951"/>
          </a:xfrm>
          <a:prstGeom prst="can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8178224" y="4901273"/>
            <a:ext cx="76200" cy="366052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8227696" y="5029200"/>
            <a:ext cx="85724" cy="10259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cxnSp>
        <p:nvCxnSpPr>
          <p:cNvPr id="169" name="Straight Connector 61"/>
          <p:cNvCxnSpPr/>
          <p:nvPr/>
        </p:nvCxnSpPr>
        <p:spPr>
          <a:xfrm flipV="1">
            <a:off x="7178100" y="5225124"/>
            <a:ext cx="1280160" cy="274320"/>
          </a:xfrm>
          <a:prstGeom prst="bentConnector2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61"/>
          <p:cNvCxnSpPr/>
          <p:nvPr/>
        </p:nvCxnSpPr>
        <p:spPr>
          <a:xfrm rot="16200000" flipV="1">
            <a:off x="3211024" y="-458299"/>
            <a:ext cx="3624924" cy="7132320"/>
          </a:xfrm>
          <a:prstGeom prst="bentConnector2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ounded Rectangular Callout 178"/>
          <p:cNvSpPr/>
          <p:nvPr/>
        </p:nvSpPr>
        <p:spPr>
          <a:xfrm>
            <a:off x="2502475" y="1448398"/>
            <a:ext cx="5469950" cy="4347451"/>
          </a:xfrm>
          <a:custGeom>
            <a:avLst/>
            <a:gdLst>
              <a:gd name="connsiteX0" fmla="*/ 0 w 5469950"/>
              <a:gd name="connsiteY0" fmla="*/ 76202 h 457200"/>
              <a:gd name="connsiteX1" fmla="*/ 76202 w 5469950"/>
              <a:gd name="connsiteY1" fmla="*/ 0 h 457200"/>
              <a:gd name="connsiteX2" fmla="*/ 911658 w 5469950"/>
              <a:gd name="connsiteY2" fmla="*/ 0 h 457200"/>
              <a:gd name="connsiteX3" fmla="*/ 911658 w 5469950"/>
              <a:gd name="connsiteY3" fmla="*/ 0 h 457200"/>
              <a:gd name="connsiteX4" fmla="*/ 2279146 w 5469950"/>
              <a:gd name="connsiteY4" fmla="*/ 0 h 457200"/>
              <a:gd name="connsiteX5" fmla="*/ 5393748 w 5469950"/>
              <a:gd name="connsiteY5" fmla="*/ 0 h 457200"/>
              <a:gd name="connsiteX6" fmla="*/ 5469950 w 5469950"/>
              <a:gd name="connsiteY6" fmla="*/ 76202 h 457200"/>
              <a:gd name="connsiteX7" fmla="*/ 5469950 w 5469950"/>
              <a:gd name="connsiteY7" fmla="*/ 266700 h 457200"/>
              <a:gd name="connsiteX8" fmla="*/ 5469950 w 5469950"/>
              <a:gd name="connsiteY8" fmla="*/ 266700 h 457200"/>
              <a:gd name="connsiteX9" fmla="*/ 5469950 w 5469950"/>
              <a:gd name="connsiteY9" fmla="*/ 381000 h 457200"/>
              <a:gd name="connsiteX10" fmla="*/ 5469950 w 5469950"/>
              <a:gd name="connsiteY10" fmla="*/ 380998 h 457200"/>
              <a:gd name="connsiteX11" fmla="*/ 5393748 w 5469950"/>
              <a:gd name="connsiteY11" fmla="*/ 457200 h 457200"/>
              <a:gd name="connsiteX12" fmla="*/ 2279146 w 5469950"/>
              <a:gd name="connsiteY12" fmla="*/ 457200 h 457200"/>
              <a:gd name="connsiteX13" fmla="*/ 121050 w 5469950"/>
              <a:gd name="connsiteY13" fmla="*/ 4347451 h 457200"/>
              <a:gd name="connsiteX14" fmla="*/ 911658 w 5469950"/>
              <a:gd name="connsiteY14" fmla="*/ 457200 h 457200"/>
              <a:gd name="connsiteX15" fmla="*/ 76202 w 5469950"/>
              <a:gd name="connsiteY15" fmla="*/ 457200 h 457200"/>
              <a:gd name="connsiteX16" fmla="*/ 0 w 5469950"/>
              <a:gd name="connsiteY16" fmla="*/ 380998 h 457200"/>
              <a:gd name="connsiteX17" fmla="*/ 0 w 5469950"/>
              <a:gd name="connsiteY17" fmla="*/ 381000 h 457200"/>
              <a:gd name="connsiteX18" fmla="*/ 0 w 5469950"/>
              <a:gd name="connsiteY18" fmla="*/ 266700 h 457200"/>
              <a:gd name="connsiteX19" fmla="*/ 0 w 5469950"/>
              <a:gd name="connsiteY19" fmla="*/ 266700 h 457200"/>
              <a:gd name="connsiteX20" fmla="*/ 0 w 5469950"/>
              <a:gd name="connsiteY20" fmla="*/ 76202 h 457200"/>
              <a:gd name="connsiteX0" fmla="*/ 0 w 5469950"/>
              <a:gd name="connsiteY0" fmla="*/ 76202 h 4347451"/>
              <a:gd name="connsiteX1" fmla="*/ 76202 w 5469950"/>
              <a:gd name="connsiteY1" fmla="*/ 0 h 4347451"/>
              <a:gd name="connsiteX2" fmla="*/ 911658 w 5469950"/>
              <a:gd name="connsiteY2" fmla="*/ 0 h 4347451"/>
              <a:gd name="connsiteX3" fmla="*/ 911658 w 5469950"/>
              <a:gd name="connsiteY3" fmla="*/ 0 h 4347451"/>
              <a:gd name="connsiteX4" fmla="*/ 2279146 w 5469950"/>
              <a:gd name="connsiteY4" fmla="*/ 0 h 4347451"/>
              <a:gd name="connsiteX5" fmla="*/ 5393748 w 5469950"/>
              <a:gd name="connsiteY5" fmla="*/ 0 h 4347451"/>
              <a:gd name="connsiteX6" fmla="*/ 5469950 w 5469950"/>
              <a:gd name="connsiteY6" fmla="*/ 76202 h 4347451"/>
              <a:gd name="connsiteX7" fmla="*/ 5469950 w 5469950"/>
              <a:gd name="connsiteY7" fmla="*/ 266700 h 4347451"/>
              <a:gd name="connsiteX8" fmla="*/ 5469950 w 5469950"/>
              <a:gd name="connsiteY8" fmla="*/ 266700 h 4347451"/>
              <a:gd name="connsiteX9" fmla="*/ 5469950 w 5469950"/>
              <a:gd name="connsiteY9" fmla="*/ 381000 h 4347451"/>
              <a:gd name="connsiteX10" fmla="*/ 5469950 w 5469950"/>
              <a:gd name="connsiteY10" fmla="*/ 380998 h 4347451"/>
              <a:gd name="connsiteX11" fmla="*/ 5393748 w 5469950"/>
              <a:gd name="connsiteY11" fmla="*/ 457200 h 4347451"/>
              <a:gd name="connsiteX12" fmla="*/ 615446 w 5469950"/>
              <a:gd name="connsiteY12" fmla="*/ 457200 h 4347451"/>
              <a:gd name="connsiteX13" fmla="*/ 121050 w 5469950"/>
              <a:gd name="connsiteY13" fmla="*/ 4347451 h 4347451"/>
              <a:gd name="connsiteX14" fmla="*/ 911658 w 5469950"/>
              <a:gd name="connsiteY14" fmla="*/ 457200 h 4347451"/>
              <a:gd name="connsiteX15" fmla="*/ 76202 w 5469950"/>
              <a:gd name="connsiteY15" fmla="*/ 457200 h 4347451"/>
              <a:gd name="connsiteX16" fmla="*/ 0 w 5469950"/>
              <a:gd name="connsiteY16" fmla="*/ 380998 h 4347451"/>
              <a:gd name="connsiteX17" fmla="*/ 0 w 5469950"/>
              <a:gd name="connsiteY17" fmla="*/ 381000 h 4347451"/>
              <a:gd name="connsiteX18" fmla="*/ 0 w 5469950"/>
              <a:gd name="connsiteY18" fmla="*/ 266700 h 4347451"/>
              <a:gd name="connsiteX19" fmla="*/ 0 w 5469950"/>
              <a:gd name="connsiteY19" fmla="*/ 266700 h 4347451"/>
              <a:gd name="connsiteX20" fmla="*/ 0 w 5469950"/>
              <a:gd name="connsiteY20" fmla="*/ 76202 h 4347451"/>
              <a:gd name="connsiteX0" fmla="*/ 0 w 5469950"/>
              <a:gd name="connsiteY0" fmla="*/ 76202 h 4347451"/>
              <a:gd name="connsiteX1" fmla="*/ 76202 w 5469950"/>
              <a:gd name="connsiteY1" fmla="*/ 0 h 4347451"/>
              <a:gd name="connsiteX2" fmla="*/ 911658 w 5469950"/>
              <a:gd name="connsiteY2" fmla="*/ 0 h 4347451"/>
              <a:gd name="connsiteX3" fmla="*/ 911658 w 5469950"/>
              <a:gd name="connsiteY3" fmla="*/ 0 h 4347451"/>
              <a:gd name="connsiteX4" fmla="*/ 2279146 w 5469950"/>
              <a:gd name="connsiteY4" fmla="*/ 0 h 4347451"/>
              <a:gd name="connsiteX5" fmla="*/ 5393748 w 5469950"/>
              <a:gd name="connsiteY5" fmla="*/ 0 h 4347451"/>
              <a:gd name="connsiteX6" fmla="*/ 5469950 w 5469950"/>
              <a:gd name="connsiteY6" fmla="*/ 76202 h 4347451"/>
              <a:gd name="connsiteX7" fmla="*/ 5469950 w 5469950"/>
              <a:gd name="connsiteY7" fmla="*/ 266700 h 4347451"/>
              <a:gd name="connsiteX8" fmla="*/ 5469950 w 5469950"/>
              <a:gd name="connsiteY8" fmla="*/ 266700 h 4347451"/>
              <a:gd name="connsiteX9" fmla="*/ 5469950 w 5469950"/>
              <a:gd name="connsiteY9" fmla="*/ 381000 h 4347451"/>
              <a:gd name="connsiteX10" fmla="*/ 5469950 w 5469950"/>
              <a:gd name="connsiteY10" fmla="*/ 380998 h 4347451"/>
              <a:gd name="connsiteX11" fmla="*/ 5393748 w 5469950"/>
              <a:gd name="connsiteY11" fmla="*/ 457200 h 4347451"/>
              <a:gd name="connsiteX12" fmla="*/ 615446 w 5469950"/>
              <a:gd name="connsiteY12" fmla="*/ 457200 h 4347451"/>
              <a:gd name="connsiteX13" fmla="*/ 121050 w 5469950"/>
              <a:gd name="connsiteY13" fmla="*/ 4347451 h 4347451"/>
              <a:gd name="connsiteX14" fmla="*/ 422708 w 5469950"/>
              <a:gd name="connsiteY14" fmla="*/ 457200 h 4347451"/>
              <a:gd name="connsiteX15" fmla="*/ 76202 w 5469950"/>
              <a:gd name="connsiteY15" fmla="*/ 457200 h 4347451"/>
              <a:gd name="connsiteX16" fmla="*/ 0 w 5469950"/>
              <a:gd name="connsiteY16" fmla="*/ 380998 h 4347451"/>
              <a:gd name="connsiteX17" fmla="*/ 0 w 5469950"/>
              <a:gd name="connsiteY17" fmla="*/ 381000 h 4347451"/>
              <a:gd name="connsiteX18" fmla="*/ 0 w 5469950"/>
              <a:gd name="connsiteY18" fmla="*/ 266700 h 4347451"/>
              <a:gd name="connsiteX19" fmla="*/ 0 w 5469950"/>
              <a:gd name="connsiteY19" fmla="*/ 266700 h 4347451"/>
              <a:gd name="connsiteX20" fmla="*/ 0 w 5469950"/>
              <a:gd name="connsiteY20" fmla="*/ 76202 h 4347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5469950" h="4347451">
                <a:moveTo>
                  <a:pt x="0" y="76202"/>
                </a:moveTo>
                <a:cubicBezTo>
                  <a:pt x="0" y="34117"/>
                  <a:pt x="34117" y="0"/>
                  <a:pt x="76202" y="0"/>
                </a:cubicBezTo>
                <a:lnTo>
                  <a:pt x="911658" y="0"/>
                </a:lnTo>
                <a:lnTo>
                  <a:pt x="911658" y="0"/>
                </a:lnTo>
                <a:lnTo>
                  <a:pt x="2279146" y="0"/>
                </a:lnTo>
                <a:lnTo>
                  <a:pt x="5393748" y="0"/>
                </a:lnTo>
                <a:cubicBezTo>
                  <a:pt x="5435833" y="0"/>
                  <a:pt x="5469950" y="34117"/>
                  <a:pt x="5469950" y="76202"/>
                </a:cubicBezTo>
                <a:lnTo>
                  <a:pt x="5469950" y="266700"/>
                </a:lnTo>
                <a:lnTo>
                  <a:pt x="5469950" y="266700"/>
                </a:lnTo>
                <a:lnTo>
                  <a:pt x="5469950" y="381000"/>
                </a:lnTo>
                <a:lnTo>
                  <a:pt x="5469950" y="380998"/>
                </a:lnTo>
                <a:cubicBezTo>
                  <a:pt x="5469950" y="423083"/>
                  <a:pt x="5435833" y="457200"/>
                  <a:pt x="5393748" y="457200"/>
                </a:cubicBezTo>
                <a:lnTo>
                  <a:pt x="615446" y="457200"/>
                </a:lnTo>
                <a:lnTo>
                  <a:pt x="121050" y="4347451"/>
                </a:lnTo>
                <a:lnTo>
                  <a:pt x="422708" y="457200"/>
                </a:lnTo>
                <a:lnTo>
                  <a:pt x="76202" y="457200"/>
                </a:lnTo>
                <a:cubicBezTo>
                  <a:pt x="34117" y="457200"/>
                  <a:pt x="0" y="423083"/>
                  <a:pt x="0" y="380998"/>
                </a:cubicBezTo>
                <a:lnTo>
                  <a:pt x="0" y="381000"/>
                </a:lnTo>
                <a:lnTo>
                  <a:pt x="0" y="266700"/>
                </a:lnTo>
                <a:lnTo>
                  <a:pt x="0" y="266700"/>
                </a:lnTo>
                <a:lnTo>
                  <a:pt x="0" y="76202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7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algn="ctr"/>
            <a:r>
              <a:rPr lang="mr-IN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ॅक्टेरिया प्रक्रिया </a:t>
            </a:r>
            <a:r>
              <a:rPr lang="en-US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– </a:t>
            </a:r>
            <a:r>
              <a:rPr lang="mr-IN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ेवळ एकदाच सूक्ष्मजीव विकसित करणे</a:t>
            </a:r>
          </a:p>
        </p:txBody>
      </p:sp>
      <p:sp>
        <p:nvSpPr>
          <p:cNvPr id="166" name="Rounded Rectangular Callout 165"/>
          <p:cNvSpPr/>
          <p:nvPr/>
        </p:nvSpPr>
        <p:spPr>
          <a:xfrm>
            <a:off x="3155732" y="1981200"/>
            <a:ext cx="4814540" cy="4215539"/>
          </a:xfrm>
          <a:custGeom>
            <a:avLst/>
            <a:gdLst>
              <a:gd name="connsiteX0" fmla="*/ 0 w 4731223"/>
              <a:gd name="connsiteY0" fmla="*/ 76202 h 457200"/>
              <a:gd name="connsiteX1" fmla="*/ 76202 w 4731223"/>
              <a:gd name="connsiteY1" fmla="*/ 0 h 457200"/>
              <a:gd name="connsiteX2" fmla="*/ 788537 w 4731223"/>
              <a:gd name="connsiteY2" fmla="*/ 0 h 457200"/>
              <a:gd name="connsiteX3" fmla="*/ 788537 w 4731223"/>
              <a:gd name="connsiteY3" fmla="*/ 0 h 457200"/>
              <a:gd name="connsiteX4" fmla="*/ 1971343 w 4731223"/>
              <a:gd name="connsiteY4" fmla="*/ 0 h 457200"/>
              <a:gd name="connsiteX5" fmla="*/ 4655021 w 4731223"/>
              <a:gd name="connsiteY5" fmla="*/ 0 h 457200"/>
              <a:gd name="connsiteX6" fmla="*/ 4731223 w 4731223"/>
              <a:gd name="connsiteY6" fmla="*/ 76202 h 457200"/>
              <a:gd name="connsiteX7" fmla="*/ 4731223 w 4731223"/>
              <a:gd name="connsiteY7" fmla="*/ 266700 h 457200"/>
              <a:gd name="connsiteX8" fmla="*/ 4731223 w 4731223"/>
              <a:gd name="connsiteY8" fmla="*/ 266700 h 457200"/>
              <a:gd name="connsiteX9" fmla="*/ 4731223 w 4731223"/>
              <a:gd name="connsiteY9" fmla="*/ 381000 h 457200"/>
              <a:gd name="connsiteX10" fmla="*/ 4731223 w 4731223"/>
              <a:gd name="connsiteY10" fmla="*/ 380998 h 457200"/>
              <a:gd name="connsiteX11" fmla="*/ 4655021 w 4731223"/>
              <a:gd name="connsiteY11" fmla="*/ 457200 h 457200"/>
              <a:gd name="connsiteX12" fmla="*/ 1971343 w 4731223"/>
              <a:gd name="connsiteY12" fmla="*/ 457200 h 457200"/>
              <a:gd name="connsiteX13" fmla="*/ -83317 w 4731223"/>
              <a:gd name="connsiteY13" fmla="*/ 4215539 h 457200"/>
              <a:gd name="connsiteX14" fmla="*/ 788537 w 4731223"/>
              <a:gd name="connsiteY14" fmla="*/ 457200 h 457200"/>
              <a:gd name="connsiteX15" fmla="*/ 76202 w 4731223"/>
              <a:gd name="connsiteY15" fmla="*/ 457200 h 457200"/>
              <a:gd name="connsiteX16" fmla="*/ 0 w 4731223"/>
              <a:gd name="connsiteY16" fmla="*/ 380998 h 457200"/>
              <a:gd name="connsiteX17" fmla="*/ 0 w 4731223"/>
              <a:gd name="connsiteY17" fmla="*/ 381000 h 457200"/>
              <a:gd name="connsiteX18" fmla="*/ 0 w 4731223"/>
              <a:gd name="connsiteY18" fmla="*/ 266700 h 457200"/>
              <a:gd name="connsiteX19" fmla="*/ 0 w 4731223"/>
              <a:gd name="connsiteY19" fmla="*/ 266700 h 457200"/>
              <a:gd name="connsiteX20" fmla="*/ 0 w 4731223"/>
              <a:gd name="connsiteY20" fmla="*/ 76202 h 457200"/>
              <a:gd name="connsiteX0" fmla="*/ 83317 w 4814540"/>
              <a:gd name="connsiteY0" fmla="*/ 76202 h 4215539"/>
              <a:gd name="connsiteX1" fmla="*/ 159519 w 4814540"/>
              <a:gd name="connsiteY1" fmla="*/ 0 h 4215539"/>
              <a:gd name="connsiteX2" fmla="*/ 871854 w 4814540"/>
              <a:gd name="connsiteY2" fmla="*/ 0 h 4215539"/>
              <a:gd name="connsiteX3" fmla="*/ 871854 w 4814540"/>
              <a:gd name="connsiteY3" fmla="*/ 0 h 4215539"/>
              <a:gd name="connsiteX4" fmla="*/ 2054660 w 4814540"/>
              <a:gd name="connsiteY4" fmla="*/ 0 h 4215539"/>
              <a:gd name="connsiteX5" fmla="*/ 4738338 w 4814540"/>
              <a:gd name="connsiteY5" fmla="*/ 0 h 4215539"/>
              <a:gd name="connsiteX6" fmla="*/ 4814540 w 4814540"/>
              <a:gd name="connsiteY6" fmla="*/ 76202 h 4215539"/>
              <a:gd name="connsiteX7" fmla="*/ 4814540 w 4814540"/>
              <a:gd name="connsiteY7" fmla="*/ 266700 h 4215539"/>
              <a:gd name="connsiteX8" fmla="*/ 4814540 w 4814540"/>
              <a:gd name="connsiteY8" fmla="*/ 266700 h 4215539"/>
              <a:gd name="connsiteX9" fmla="*/ 4814540 w 4814540"/>
              <a:gd name="connsiteY9" fmla="*/ 381000 h 4215539"/>
              <a:gd name="connsiteX10" fmla="*/ 4814540 w 4814540"/>
              <a:gd name="connsiteY10" fmla="*/ 380998 h 4215539"/>
              <a:gd name="connsiteX11" fmla="*/ 4738338 w 4814540"/>
              <a:gd name="connsiteY11" fmla="*/ 457200 h 4215539"/>
              <a:gd name="connsiteX12" fmla="*/ 664010 w 4814540"/>
              <a:gd name="connsiteY12" fmla="*/ 457200 h 4215539"/>
              <a:gd name="connsiteX13" fmla="*/ 0 w 4814540"/>
              <a:gd name="connsiteY13" fmla="*/ 4215539 h 4215539"/>
              <a:gd name="connsiteX14" fmla="*/ 871854 w 4814540"/>
              <a:gd name="connsiteY14" fmla="*/ 457200 h 4215539"/>
              <a:gd name="connsiteX15" fmla="*/ 159519 w 4814540"/>
              <a:gd name="connsiteY15" fmla="*/ 457200 h 4215539"/>
              <a:gd name="connsiteX16" fmla="*/ 83317 w 4814540"/>
              <a:gd name="connsiteY16" fmla="*/ 380998 h 4215539"/>
              <a:gd name="connsiteX17" fmla="*/ 83317 w 4814540"/>
              <a:gd name="connsiteY17" fmla="*/ 381000 h 4215539"/>
              <a:gd name="connsiteX18" fmla="*/ 83317 w 4814540"/>
              <a:gd name="connsiteY18" fmla="*/ 266700 h 4215539"/>
              <a:gd name="connsiteX19" fmla="*/ 83317 w 4814540"/>
              <a:gd name="connsiteY19" fmla="*/ 266700 h 4215539"/>
              <a:gd name="connsiteX20" fmla="*/ 83317 w 4814540"/>
              <a:gd name="connsiteY20" fmla="*/ 76202 h 4215539"/>
              <a:gd name="connsiteX0" fmla="*/ 83317 w 4814540"/>
              <a:gd name="connsiteY0" fmla="*/ 76202 h 4215539"/>
              <a:gd name="connsiteX1" fmla="*/ 159519 w 4814540"/>
              <a:gd name="connsiteY1" fmla="*/ 0 h 4215539"/>
              <a:gd name="connsiteX2" fmla="*/ 871854 w 4814540"/>
              <a:gd name="connsiteY2" fmla="*/ 0 h 4215539"/>
              <a:gd name="connsiteX3" fmla="*/ 871854 w 4814540"/>
              <a:gd name="connsiteY3" fmla="*/ 0 h 4215539"/>
              <a:gd name="connsiteX4" fmla="*/ 2054660 w 4814540"/>
              <a:gd name="connsiteY4" fmla="*/ 0 h 4215539"/>
              <a:gd name="connsiteX5" fmla="*/ 4738338 w 4814540"/>
              <a:gd name="connsiteY5" fmla="*/ 0 h 4215539"/>
              <a:gd name="connsiteX6" fmla="*/ 4814540 w 4814540"/>
              <a:gd name="connsiteY6" fmla="*/ 76202 h 4215539"/>
              <a:gd name="connsiteX7" fmla="*/ 4814540 w 4814540"/>
              <a:gd name="connsiteY7" fmla="*/ 266700 h 4215539"/>
              <a:gd name="connsiteX8" fmla="*/ 4814540 w 4814540"/>
              <a:gd name="connsiteY8" fmla="*/ 266700 h 4215539"/>
              <a:gd name="connsiteX9" fmla="*/ 4814540 w 4814540"/>
              <a:gd name="connsiteY9" fmla="*/ 381000 h 4215539"/>
              <a:gd name="connsiteX10" fmla="*/ 4814540 w 4814540"/>
              <a:gd name="connsiteY10" fmla="*/ 380998 h 4215539"/>
              <a:gd name="connsiteX11" fmla="*/ 4738338 w 4814540"/>
              <a:gd name="connsiteY11" fmla="*/ 457200 h 4215539"/>
              <a:gd name="connsiteX12" fmla="*/ 664010 w 4814540"/>
              <a:gd name="connsiteY12" fmla="*/ 457200 h 4215539"/>
              <a:gd name="connsiteX13" fmla="*/ 0 w 4814540"/>
              <a:gd name="connsiteY13" fmla="*/ 4215539 h 4215539"/>
              <a:gd name="connsiteX14" fmla="*/ 497204 w 4814540"/>
              <a:gd name="connsiteY14" fmla="*/ 457200 h 4215539"/>
              <a:gd name="connsiteX15" fmla="*/ 159519 w 4814540"/>
              <a:gd name="connsiteY15" fmla="*/ 457200 h 4215539"/>
              <a:gd name="connsiteX16" fmla="*/ 83317 w 4814540"/>
              <a:gd name="connsiteY16" fmla="*/ 380998 h 4215539"/>
              <a:gd name="connsiteX17" fmla="*/ 83317 w 4814540"/>
              <a:gd name="connsiteY17" fmla="*/ 381000 h 4215539"/>
              <a:gd name="connsiteX18" fmla="*/ 83317 w 4814540"/>
              <a:gd name="connsiteY18" fmla="*/ 266700 h 4215539"/>
              <a:gd name="connsiteX19" fmla="*/ 83317 w 4814540"/>
              <a:gd name="connsiteY19" fmla="*/ 266700 h 4215539"/>
              <a:gd name="connsiteX20" fmla="*/ 83317 w 4814540"/>
              <a:gd name="connsiteY20" fmla="*/ 76202 h 42155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814540" h="4215539">
                <a:moveTo>
                  <a:pt x="83317" y="76202"/>
                </a:moveTo>
                <a:cubicBezTo>
                  <a:pt x="83317" y="34117"/>
                  <a:pt x="117434" y="0"/>
                  <a:pt x="159519" y="0"/>
                </a:cubicBezTo>
                <a:lnTo>
                  <a:pt x="871854" y="0"/>
                </a:lnTo>
                <a:lnTo>
                  <a:pt x="871854" y="0"/>
                </a:lnTo>
                <a:lnTo>
                  <a:pt x="2054660" y="0"/>
                </a:lnTo>
                <a:lnTo>
                  <a:pt x="4738338" y="0"/>
                </a:lnTo>
                <a:cubicBezTo>
                  <a:pt x="4780423" y="0"/>
                  <a:pt x="4814540" y="34117"/>
                  <a:pt x="4814540" y="76202"/>
                </a:cubicBezTo>
                <a:lnTo>
                  <a:pt x="4814540" y="266700"/>
                </a:lnTo>
                <a:lnTo>
                  <a:pt x="4814540" y="266700"/>
                </a:lnTo>
                <a:lnTo>
                  <a:pt x="4814540" y="381000"/>
                </a:lnTo>
                <a:lnTo>
                  <a:pt x="4814540" y="380998"/>
                </a:lnTo>
                <a:cubicBezTo>
                  <a:pt x="4814540" y="423083"/>
                  <a:pt x="4780423" y="457200"/>
                  <a:pt x="4738338" y="457200"/>
                </a:cubicBezTo>
                <a:lnTo>
                  <a:pt x="664010" y="457200"/>
                </a:lnTo>
                <a:lnTo>
                  <a:pt x="0" y="4215539"/>
                </a:lnTo>
                <a:lnTo>
                  <a:pt x="497204" y="457200"/>
                </a:lnTo>
                <a:lnTo>
                  <a:pt x="159519" y="457200"/>
                </a:lnTo>
                <a:cubicBezTo>
                  <a:pt x="117434" y="457200"/>
                  <a:pt x="83317" y="423083"/>
                  <a:pt x="83317" y="380998"/>
                </a:cubicBezTo>
                <a:lnTo>
                  <a:pt x="83317" y="381000"/>
                </a:lnTo>
                <a:lnTo>
                  <a:pt x="83317" y="266700"/>
                </a:lnTo>
                <a:lnTo>
                  <a:pt x="83317" y="266700"/>
                </a:lnTo>
                <a:lnTo>
                  <a:pt x="83317" y="76202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4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algn="ctr"/>
            <a:r>
              <a:rPr lang="mr-IN" sz="14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मीत कमी मैला तयार होतो – मैला सफाईची आवश्यकता भासत नाही </a:t>
            </a:r>
            <a:endParaRPr lang="en-US" sz="14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7" name="Rounded Rectangular Callout 166"/>
          <p:cNvSpPr/>
          <p:nvPr/>
        </p:nvSpPr>
        <p:spPr>
          <a:xfrm>
            <a:off x="4592602" y="3048000"/>
            <a:ext cx="3377671" cy="2287244"/>
          </a:xfrm>
          <a:custGeom>
            <a:avLst/>
            <a:gdLst>
              <a:gd name="connsiteX0" fmla="*/ 0 w 3377671"/>
              <a:gd name="connsiteY0" fmla="*/ 76202 h 457200"/>
              <a:gd name="connsiteX1" fmla="*/ 76202 w 3377671"/>
              <a:gd name="connsiteY1" fmla="*/ 0 h 457200"/>
              <a:gd name="connsiteX2" fmla="*/ 562945 w 3377671"/>
              <a:gd name="connsiteY2" fmla="*/ 0 h 457200"/>
              <a:gd name="connsiteX3" fmla="*/ 562945 w 3377671"/>
              <a:gd name="connsiteY3" fmla="*/ 0 h 457200"/>
              <a:gd name="connsiteX4" fmla="*/ 1407363 w 3377671"/>
              <a:gd name="connsiteY4" fmla="*/ 0 h 457200"/>
              <a:gd name="connsiteX5" fmla="*/ 3301469 w 3377671"/>
              <a:gd name="connsiteY5" fmla="*/ 0 h 457200"/>
              <a:gd name="connsiteX6" fmla="*/ 3377671 w 3377671"/>
              <a:gd name="connsiteY6" fmla="*/ 76202 h 457200"/>
              <a:gd name="connsiteX7" fmla="*/ 3377671 w 3377671"/>
              <a:gd name="connsiteY7" fmla="*/ 266700 h 457200"/>
              <a:gd name="connsiteX8" fmla="*/ 3377671 w 3377671"/>
              <a:gd name="connsiteY8" fmla="*/ 266700 h 457200"/>
              <a:gd name="connsiteX9" fmla="*/ 3377671 w 3377671"/>
              <a:gd name="connsiteY9" fmla="*/ 381000 h 457200"/>
              <a:gd name="connsiteX10" fmla="*/ 3377671 w 3377671"/>
              <a:gd name="connsiteY10" fmla="*/ 380998 h 457200"/>
              <a:gd name="connsiteX11" fmla="*/ 3301469 w 3377671"/>
              <a:gd name="connsiteY11" fmla="*/ 457200 h 457200"/>
              <a:gd name="connsiteX12" fmla="*/ 1407363 w 3377671"/>
              <a:gd name="connsiteY12" fmla="*/ 457200 h 457200"/>
              <a:gd name="connsiteX13" fmla="*/ 729509 w 3377671"/>
              <a:gd name="connsiteY13" fmla="*/ 2504414 h 457200"/>
              <a:gd name="connsiteX14" fmla="*/ 562945 w 3377671"/>
              <a:gd name="connsiteY14" fmla="*/ 457200 h 457200"/>
              <a:gd name="connsiteX15" fmla="*/ 76202 w 3377671"/>
              <a:gd name="connsiteY15" fmla="*/ 457200 h 457200"/>
              <a:gd name="connsiteX16" fmla="*/ 0 w 3377671"/>
              <a:gd name="connsiteY16" fmla="*/ 380998 h 457200"/>
              <a:gd name="connsiteX17" fmla="*/ 0 w 3377671"/>
              <a:gd name="connsiteY17" fmla="*/ 381000 h 457200"/>
              <a:gd name="connsiteX18" fmla="*/ 0 w 3377671"/>
              <a:gd name="connsiteY18" fmla="*/ 266700 h 457200"/>
              <a:gd name="connsiteX19" fmla="*/ 0 w 3377671"/>
              <a:gd name="connsiteY19" fmla="*/ 266700 h 457200"/>
              <a:gd name="connsiteX20" fmla="*/ 0 w 3377671"/>
              <a:gd name="connsiteY20" fmla="*/ 76202 h 457200"/>
              <a:gd name="connsiteX0" fmla="*/ 0 w 3377671"/>
              <a:gd name="connsiteY0" fmla="*/ 76202 h 2504414"/>
              <a:gd name="connsiteX1" fmla="*/ 76202 w 3377671"/>
              <a:gd name="connsiteY1" fmla="*/ 0 h 2504414"/>
              <a:gd name="connsiteX2" fmla="*/ 562945 w 3377671"/>
              <a:gd name="connsiteY2" fmla="*/ 0 h 2504414"/>
              <a:gd name="connsiteX3" fmla="*/ 562945 w 3377671"/>
              <a:gd name="connsiteY3" fmla="*/ 0 h 2504414"/>
              <a:gd name="connsiteX4" fmla="*/ 1407363 w 3377671"/>
              <a:gd name="connsiteY4" fmla="*/ 0 h 2504414"/>
              <a:gd name="connsiteX5" fmla="*/ 3301469 w 3377671"/>
              <a:gd name="connsiteY5" fmla="*/ 0 h 2504414"/>
              <a:gd name="connsiteX6" fmla="*/ 3377671 w 3377671"/>
              <a:gd name="connsiteY6" fmla="*/ 76202 h 2504414"/>
              <a:gd name="connsiteX7" fmla="*/ 3377671 w 3377671"/>
              <a:gd name="connsiteY7" fmla="*/ 266700 h 2504414"/>
              <a:gd name="connsiteX8" fmla="*/ 3377671 w 3377671"/>
              <a:gd name="connsiteY8" fmla="*/ 266700 h 2504414"/>
              <a:gd name="connsiteX9" fmla="*/ 3377671 w 3377671"/>
              <a:gd name="connsiteY9" fmla="*/ 381000 h 2504414"/>
              <a:gd name="connsiteX10" fmla="*/ 3377671 w 3377671"/>
              <a:gd name="connsiteY10" fmla="*/ 380998 h 2504414"/>
              <a:gd name="connsiteX11" fmla="*/ 3301469 w 3377671"/>
              <a:gd name="connsiteY11" fmla="*/ 457200 h 2504414"/>
              <a:gd name="connsiteX12" fmla="*/ 556463 w 3377671"/>
              <a:gd name="connsiteY12" fmla="*/ 457200 h 2504414"/>
              <a:gd name="connsiteX13" fmla="*/ 729509 w 3377671"/>
              <a:gd name="connsiteY13" fmla="*/ 2504414 h 2504414"/>
              <a:gd name="connsiteX14" fmla="*/ 562945 w 3377671"/>
              <a:gd name="connsiteY14" fmla="*/ 457200 h 2504414"/>
              <a:gd name="connsiteX15" fmla="*/ 76202 w 3377671"/>
              <a:gd name="connsiteY15" fmla="*/ 457200 h 2504414"/>
              <a:gd name="connsiteX16" fmla="*/ 0 w 3377671"/>
              <a:gd name="connsiteY16" fmla="*/ 380998 h 2504414"/>
              <a:gd name="connsiteX17" fmla="*/ 0 w 3377671"/>
              <a:gd name="connsiteY17" fmla="*/ 381000 h 2504414"/>
              <a:gd name="connsiteX18" fmla="*/ 0 w 3377671"/>
              <a:gd name="connsiteY18" fmla="*/ 266700 h 2504414"/>
              <a:gd name="connsiteX19" fmla="*/ 0 w 3377671"/>
              <a:gd name="connsiteY19" fmla="*/ 266700 h 2504414"/>
              <a:gd name="connsiteX20" fmla="*/ 0 w 3377671"/>
              <a:gd name="connsiteY20" fmla="*/ 76202 h 2504414"/>
              <a:gd name="connsiteX0" fmla="*/ 0 w 3377671"/>
              <a:gd name="connsiteY0" fmla="*/ 76202 h 2504414"/>
              <a:gd name="connsiteX1" fmla="*/ 76202 w 3377671"/>
              <a:gd name="connsiteY1" fmla="*/ 0 h 2504414"/>
              <a:gd name="connsiteX2" fmla="*/ 562945 w 3377671"/>
              <a:gd name="connsiteY2" fmla="*/ 0 h 2504414"/>
              <a:gd name="connsiteX3" fmla="*/ 562945 w 3377671"/>
              <a:gd name="connsiteY3" fmla="*/ 0 h 2504414"/>
              <a:gd name="connsiteX4" fmla="*/ 1407363 w 3377671"/>
              <a:gd name="connsiteY4" fmla="*/ 0 h 2504414"/>
              <a:gd name="connsiteX5" fmla="*/ 3301469 w 3377671"/>
              <a:gd name="connsiteY5" fmla="*/ 0 h 2504414"/>
              <a:gd name="connsiteX6" fmla="*/ 3377671 w 3377671"/>
              <a:gd name="connsiteY6" fmla="*/ 76202 h 2504414"/>
              <a:gd name="connsiteX7" fmla="*/ 3377671 w 3377671"/>
              <a:gd name="connsiteY7" fmla="*/ 266700 h 2504414"/>
              <a:gd name="connsiteX8" fmla="*/ 3377671 w 3377671"/>
              <a:gd name="connsiteY8" fmla="*/ 266700 h 2504414"/>
              <a:gd name="connsiteX9" fmla="*/ 3377671 w 3377671"/>
              <a:gd name="connsiteY9" fmla="*/ 381000 h 2504414"/>
              <a:gd name="connsiteX10" fmla="*/ 3377671 w 3377671"/>
              <a:gd name="connsiteY10" fmla="*/ 380998 h 2504414"/>
              <a:gd name="connsiteX11" fmla="*/ 3301469 w 3377671"/>
              <a:gd name="connsiteY11" fmla="*/ 457200 h 2504414"/>
              <a:gd name="connsiteX12" fmla="*/ 556463 w 3377671"/>
              <a:gd name="connsiteY12" fmla="*/ 457200 h 2504414"/>
              <a:gd name="connsiteX13" fmla="*/ 729509 w 3377671"/>
              <a:gd name="connsiteY13" fmla="*/ 2504414 h 2504414"/>
              <a:gd name="connsiteX14" fmla="*/ 347045 w 3377671"/>
              <a:gd name="connsiteY14" fmla="*/ 469900 h 2504414"/>
              <a:gd name="connsiteX15" fmla="*/ 76202 w 3377671"/>
              <a:gd name="connsiteY15" fmla="*/ 457200 h 2504414"/>
              <a:gd name="connsiteX16" fmla="*/ 0 w 3377671"/>
              <a:gd name="connsiteY16" fmla="*/ 380998 h 2504414"/>
              <a:gd name="connsiteX17" fmla="*/ 0 w 3377671"/>
              <a:gd name="connsiteY17" fmla="*/ 381000 h 2504414"/>
              <a:gd name="connsiteX18" fmla="*/ 0 w 3377671"/>
              <a:gd name="connsiteY18" fmla="*/ 266700 h 2504414"/>
              <a:gd name="connsiteX19" fmla="*/ 0 w 3377671"/>
              <a:gd name="connsiteY19" fmla="*/ 266700 h 2504414"/>
              <a:gd name="connsiteX20" fmla="*/ 0 w 3377671"/>
              <a:gd name="connsiteY20" fmla="*/ 76202 h 2504414"/>
              <a:gd name="connsiteX0" fmla="*/ 0 w 3377671"/>
              <a:gd name="connsiteY0" fmla="*/ 76202 h 2504414"/>
              <a:gd name="connsiteX1" fmla="*/ 76202 w 3377671"/>
              <a:gd name="connsiteY1" fmla="*/ 0 h 2504414"/>
              <a:gd name="connsiteX2" fmla="*/ 562945 w 3377671"/>
              <a:gd name="connsiteY2" fmla="*/ 0 h 2504414"/>
              <a:gd name="connsiteX3" fmla="*/ 562945 w 3377671"/>
              <a:gd name="connsiteY3" fmla="*/ 0 h 2504414"/>
              <a:gd name="connsiteX4" fmla="*/ 1407363 w 3377671"/>
              <a:gd name="connsiteY4" fmla="*/ 0 h 2504414"/>
              <a:gd name="connsiteX5" fmla="*/ 3301469 w 3377671"/>
              <a:gd name="connsiteY5" fmla="*/ 0 h 2504414"/>
              <a:gd name="connsiteX6" fmla="*/ 3377671 w 3377671"/>
              <a:gd name="connsiteY6" fmla="*/ 76202 h 2504414"/>
              <a:gd name="connsiteX7" fmla="*/ 3377671 w 3377671"/>
              <a:gd name="connsiteY7" fmla="*/ 266700 h 2504414"/>
              <a:gd name="connsiteX8" fmla="*/ 3377671 w 3377671"/>
              <a:gd name="connsiteY8" fmla="*/ 266700 h 2504414"/>
              <a:gd name="connsiteX9" fmla="*/ 3377671 w 3377671"/>
              <a:gd name="connsiteY9" fmla="*/ 381000 h 2504414"/>
              <a:gd name="connsiteX10" fmla="*/ 3377671 w 3377671"/>
              <a:gd name="connsiteY10" fmla="*/ 380998 h 2504414"/>
              <a:gd name="connsiteX11" fmla="*/ 3301469 w 3377671"/>
              <a:gd name="connsiteY11" fmla="*/ 457200 h 2504414"/>
              <a:gd name="connsiteX12" fmla="*/ 556463 w 3377671"/>
              <a:gd name="connsiteY12" fmla="*/ 457200 h 2504414"/>
              <a:gd name="connsiteX13" fmla="*/ 729509 w 3377671"/>
              <a:gd name="connsiteY13" fmla="*/ 2504414 h 2504414"/>
              <a:gd name="connsiteX14" fmla="*/ 397845 w 3377671"/>
              <a:gd name="connsiteY14" fmla="*/ 457200 h 2504414"/>
              <a:gd name="connsiteX15" fmla="*/ 76202 w 3377671"/>
              <a:gd name="connsiteY15" fmla="*/ 457200 h 2504414"/>
              <a:gd name="connsiteX16" fmla="*/ 0 w 3377671"/>
              <a:gd name="connsiteY16" fmla="*/ 380998 h 2504414"/>
              <a:gd name="connsiteX17" fmla="*/ 0 w 3377671"/>
              <a:gd name="connsiteY17" fmla="*/ 381000 h 2504414"/>
              <a:gd name="connsiteX18" fmla="*/ 0 w 3377671"/>
              <a:gd name="connsiteY18" fmla="*/ 266700 h 2504414"/>
              <a:gd name="connsiteX19" fmla="*/ 0 w 3377671"/>
              <a:gd name="connsiteY19" fmla="*/ 266700 h 2504414"/>
              <a:gd name="connsiteX20" fmla="*/ 0 w 3377671"/>
              <a:gd name="connsiteY20" fmla="*/ 76202 h 2504414"/>
              <a:gd name="connsiteX0" fmla="*/ 0 w 3377671"/>
              <a:gd name="connsiteY0" fmla="*/ 76202 h 2287244"/>
              <a:gd name="connsiteX1" fmla="*/ 76202 w 3377671"/>
              <a:gd name="connsiteY1" fmla="*/ 0 h 2287244"/>
              <a:gd name="connsiteX2" fmla="*/ 562945 w 3377671"/>
              <a:gd name="connsiteY2" fmla="*/ 0 h 2287244"/>
              <a:gd name="connsiteX3" fmla="*/ 562945 w 3377671"/>
              <a:gd name="connsiteY3" fmla="*/ 0 h 2287244"/>
              <a:gd name="connsiteX4" fmla="*/ 1407363 w 3377671"/>
              <a:gd name="connsiteY4" fmla="*/ 0 h 2287244"/>
              <a:gd name="connsiteX5" fmla="*/ 3301469 w 3377671"/>
              <a:gd name="connsiteY5" fmla="*/ 0 h 2287244"/>
              <a:gd name="connsiteX6" fmla="*/ 3377671 w 3377671"/>
              <a:gd name="connsiteY6" fmla="*/ 76202 h 2287244"/>
              <a:gd name="connsiteX7" fmla="*/ 3377671 w 3377671"/>
              <a:gd name="connsiteY7" fmla="*/ 266700 h 2287244"/>
              <a:gd name="connsiteX8" fmla="*/ 3377671 w 3377671"/>
              <a:gd name="connsiteY8" fmla="*/ 266700 h 2287244"/>
              <a:gd name="connsiteX9" fmla="*/ 3377671 w 3377671"/>
              <a:gd name="connsiteY9" fmla="*/ 381000 h 2287244"/>
              <a:gd name="connsiteX10" fmla="*/ 3377671 w 3377671"/>
              <a:gd name="connsiteY10" fmla="*/ 380998 h 2287244"/>
              <a:gd name="connsiteX11" fmla="*/ 3301469 w 3377671"/>
              <a:gd name="connsiteY11" fmla="*/ 457200 h 2287244"/>
              <a:gd name="connsiteX12" fmla="*/ 556463 w 3377671"/>
              <a:gd name="connsiteY12" fmla="*/ 457200 h 2287244"/>
              <a:gd name="connsiteX13" fmla="*/ 946679 w 3377671"/>
              <a:gd name="connsiteY13" fmla="*/ 2287244 h 2287244"/>
              <a:gd name="connsiteX14" fmla="*/ 397845 w 3377671"/>
              <a:gd name="connsiteY14" fmla="*/ 457200 h 2287244"/>
              <a:gd name="connsiteX15" fmla="*/ 76202 w 3377671"/>
              <a:gd name="connsiteY15" fmla="*/ 457200 h 2287244"/>
              <a:gd name="connsiteX16" fmla="*/ 0 w 3377671"/>
              <a:gd name="connsiteY16" fmla="*/ 380998 h 2287244"/>
              <a:gd name="connsiteX17" fmla="*/ 0 w 3377671"/>
              <a:gd name="connsiteY17" fmla="*/ 381000 h 2287244"/>
              <a:gd name="connsiteX18" fmla="*/ 0 w 3377671"/>
              <a:gd name="connsiteY18" fmla="*/ 266700 h 2287244"/>
              <a:gd name="connsiteX19" fmla="*/ 0 w 3377671"/>
              <a:gd name="connsiteY19" fmla="*/ 266700 h 2287244"/>
              <a:gd name="connsiteX20" fmla="*/ 0 w 3377671"/>
              <a:gd name="connsiteY20" fmla="*/ 76202 h 2287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377671" h="2287244">
                <a:moveTo>
                  <a:pt x="0" y="76202"/>
                </a:moveTo>
                <a:cubicBezTo>
                  <a:pt x="0" y="34117"/>
                  <a:pt x="34117" y="0"/>
                  <a:pt x="76202" y="0"/>
                </a:cubicBezTo>
                <a:lnTo>
                  <a:pt x="562945" y="0"/>
                </a:lnTo>
                <a:lnTo>
                  <a:pt x="562945" y="0"/>
                </a:lnTo>
                <a:lnTo>
                  <a:pt x="1407363" y="0"/>
                </a:lnTo>
                <a:lnTo>
                  <a:pt x="3301469" y="0"/>
                </a:lnTo>
                <a:cubicBezTo>
                  <a:pt x="3343554" y="0"/>
                  <a:pt x="3377671" y="34117"/>
                  <a:pt x="3377671" y="76202"/>
                </a:cubicBezTo>
                <a:lnTo>
                  <a:pt x="3377671" y="266700"/>
                </a:lnTo>
                <a:lnTo>
                  <a:pt x="3377671" y="266700"/>
                </a:lnTo>
                <a:lnTo>
                  <a:pt x="3377671" y="381000"/>
                </a:lnTo>
                <a:lnTo>
                  <a:pt x="3377671" y="380998"/>
                </a:lnTo>
                <a:cubicBezTo>
                  <a:pt x="3377671" y="423083"/>
                  <a:pt x="3343554" y="457200"/>
                  <a:pt x="3301469" y="457200"/>
                </a:cubicBezTo>
                <a:lnTo>
                  <a:pt x="556463" y="457200"/>
                </a:lnTo>
                <a:lnTo>
                  <a:pt x="946679" y="2287244"/>
                </a:lnTo>
                <a:lnTo>
                  <a:pt x="397845" y="457200"/>
                </a:lnTo>
                <a:lnTo>
                  <a:pt x="76202" y="457200"/>
                </a:lnTo>
                <a:cubicBezTo>
                  <a:pt x="34117" y="457200"/>
                  <a:pt x="0" y="423083"/>
                  <a:pt x="0" y="380998"/>
                </a:cubicBezTo>
                <a:lnTo>
                  <a:pt x="0" y="381000"/>
                </a:lnTo>
                <a:lnTo>
                  <a:pt x="0" y="266700"/>
                </a:lnTo>
                <a:lnTo>
                  <a:pt x="0" y="266700"/>
                </a:lnTo>
                <a:lnTo>
                  <a:pt x="0" y="76202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5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algn="ctr"/>
            <a:r>
              <a:rPr lang="mr-IN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रीड बेड द्वाराप्रक्रिया</a:t>
            </a:r>
            <a:r>
              <a:rPr lang="en-US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en-US" sz="16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8" name="Rounded Rectangular Callout 167"/>
          <p:cNvSpPr/>
          <p:nvPr/>
        </p:nvSpPr>
        <p:spPr>
          <a:xfrm>
            <a:off x="1952624" y="2939415"/>
            <a:ext cx="6017647" cy="1099185"/>
          </a:xfrm>
          <a:custGeom>
            <a:avLst/>
            <a:gdLst>
              <a:gd name="connsiteX0" fmla="*/ 0 w 2636273"/>
              <a:gd name="connsiteY0" fmla="*/ 76202 h 457200"/>
              <a:gd name="connsiteX1" fmla="*/ 76202 w 2636273"/>
              <a:gd name="connsiteY1" fmla="*/ 0 h 457200"/>
              <a:gd name="connsiteX2" fmla="*/ 439379 w 2636273"/>
              <a:gd name="connsiteY2" fmla="*/ 0 h 457200"/>
              <a:gd name="connsiteX3" fmla="*/ -3353155 w 2636273"/>
              <a:gd name="connsiteY3" fmla="*/ -1020786 h 457200"/>
              <a:gd name="connsiteX4" fmla="*/ 1098447 w 2636273"/>
              <a:gd name="connsiteY4" fmla="*/ 0 h 457200"/>
              <a:gd name="connsiteX5" fmla="*/ 2560071 w 2636273"/>
              <a:gd name="connsiteY5" fmla="*/ 0 h 457200"/>
              <a:gd name="connsiteX6" fmla="*/ 2636273 w 2636273"/>
              <a:gd name="connsiteY6" fmla="*/ 76202 h 457200"/>
              <a:gd name="connsiteX7" fmla="*/ 2636273 w 2636273"/>
              <a:gd name="connsiteY7" fmla="*/ 76200 h 457200"/>
              <a:gd name="connsiteX8" fmla="*/ 2636273 w 2636273"/>
              <a:gd name="connsiteY8" fmla="*/ 76200 h 457200"/>
              <a:gd name="connsiteX9" fmla="*/ 2636273 w 2636273"/>
              <a:gd name="connsiteY9" fmla="*/ 190500 h 457200"/>
              <a:gd name="connsiteX10" fmla="*/ 2636273 w 2636273"/>
              <a:gd name="connsiteY10" fmla="*/ 380998 h 457200"/>
              <a:gd name="connsiteX11" fmla="*/ 2560071 w 2636273"/>
              <a:gd name="connsiteY11" fmla="*/ 457200 h 457200"/>
              <a:gd name="connsiteX12" fmla="*/ 1098447 w 2636273"/>
              <a:gd name="connsiteY12" fmla="*/ 457200 h 457200"/>
              <a:gd name="connsiteX13" fmla="*/ 439379 w 2636273"/>
              <a:gd name="connsiteY13" fmla="*/ 457200 h 457200"/>
              <a:gd name="connsiteX14" fmla="*/ 439379 w 2636273"/>
              <a:gd name="connsiteY14" fmla="*/ 457200 h 457200"/>
              <a:gd name="connsiteX15" fmla="*/ 76202 w 2636273"/>
              <a:gd name="connsiteY15" fmla="*/ 457200 h 457200"/>
              <a:gd name="connsiteX16" fmla="*/ 0 w 2636273"/>
              <a:gd name="connsiteY16" fmla="*/ 380998 h 457200"/>
              <a:gd name="connsiteX17" fmla="*/ 0 w 2636273"/>
              <a:gd name="connsiteY17" fmla="*/ 190500 h 457200"/>
              <a:gd name="connsiteX18" fmla="*/ 0 w 2636273"/>
              <a:gd name="connsiteY18" fmla="*/ 76200 h 457200"/>
              <a:gd name="connsiteX19" fmla="*/ 0 w 2636273"/>
              <a:gd name="connsiteY19" fmla="*/ 76200 h 457200"/>
              <a:gd name="connsiteX20" fmla="*/ 0 w 2636273"/>
              <a:gd name="connsiteY20" fmla="*/ 76202 h 457200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48394 w 5989428"/>
              <a:gd name="connsiteY17" fmla="*/ 1325586 h 1477986"/>
              <a:gd name="connsiteX18" fmla="*/ 3353155 w 5989428"/>
              <a:gd name="connsiteY18" fmla="*/ 1211286 h 1477986"/>
              <a:gd name="connsiteX19" fmla="*/ 3353155 w 5989428"/>
              <a:gd name="connsiteY19" fmla="*/ 1096986 h 1477986"/>
              <a:gd name="connsiteX20" fmla="*/ 3353155 w 5989428"/>
              <a:gd name="connsiteY20" fmla="*/ 1096986 h 1477986"/>
              <a:gd name="connsiteX21" fmla="*/ 3353155 w 5989428"/>
              <a:gd name="connsiteY21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48394 w 5989428"/>
              <a:gd name="connsiteY17" fmla="*/ 1325586 h 1477986"/>
              <a:gd name="connsiteX18" fmla="*/ 3353155 w 5989428"/>
              <a:gd name="connsiteY18" fmla="*/ 1211286 h 1477986"/>
              <a:gd name="connsiteX19" fmla="*/ 3353155 w 5989428"/>
              <a:gd name="connsiteY19" fmla="*/ 1096986 h 1477986"/>
              <a:gd name="connsiteX20" fmla="*/ 3353155 w 5989428"/>
              <a:gd name="connsiteY20" fmla="*/ 1096986 h 1477986"/>
              <a:gd name="connsiteX21" fmla="*/ 3353155 w 5989428"/>
              <a:gd name="connsiteY21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48394 w 5989428"/>
              <a:gd name="connsiteY17" fmla="*/ 1325586 h 1477986"/>
              <a:gd name="connsiteX18" fmla="*/ 3353155 w 5989428"/>
              <a:gd name="connsiteY18" fmla="*/ 1211286 h 1477986"/>
              <a:gd name="connsiteX19" fmla="*/ 3353155 w 5989428"/>
              <a:gd name="connsiteY19" fmla="*/ 1096986 h 1477986"/>
              <a:gd name="connsiteX20" fmla="*/ 3353155 w 5989428"/>
              <a:gd name="connsiteY20" fmla="*/ 1096986 h 1477986"/>
              <a:gd name="connsiteX21" fmla="*/ 3353155 w 5989428"/>
              <a:gd name="connsiteY21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55538 w 5989428"/>
              <a:gd name="connsiteY17" fmla="*/ 1351780 h 1477986"/>
              <a:gd name="connsiteX18" fmla="*/ 3353155 w 5989428"/>
              <a:gd name="connsiteY18" fmla="*/ 1211286 h 1477986"/>
              <a:gd name="connsiteX19" fmla="*/ 3353155 w 5989428"/>
              <a:gd name="connsiteY19" fmla="*/ 1096986 h 1477986"/>
              <a:gd name="connsiteX20" fmla="*/ 3353155 w 5989428"/>
              <a:gd name="connsiteY20" fmla="*/ 1096986 h 1477986"/>
              <a:gd name="connsiteX21" fmla="*/ 3353155 w 5989428"/>
              <a:gd name="connsiteY21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55538 w 5989428"/>
              <a:gd name="connsiteY17" fmla="*/ 1354162 h 1477986"/>
              <a:gd name="connsiteX18" fmla="*/ 3353155 w 5989428"/>
              <a:gd name="connsiteY18" fmla="*/ 1211286 h 1477986"/>
              <a:gd name="connsiteX19" fmla="*/ 3353155 w 5989428"/>
              <a:gd name="connsiteY19" fmla="*/ 1096986 h 1477986"/>
              <a:gd name="connsiteX20" fmla="*/ 3353155 w 5989428"/>
              <a:gd name="connsiteY20" fmla="*/ 1096986 h 1477986"/>
              <a:gd name="connsiteX21" fmla="*/ 3353155 w 5989428"/>
              <a:gd name="connsiteY21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55538 w 5989428"/>
              <a:gd name="connsiteY17" fmla="*/ 1354162 h 1477986"/>
              <a:gd name="connsiteX18" fmla="*/ 3350775 w 5989428"/>
              <a:gd name="connsiteY18" fmla="*/ 1280342 h 1477986"/>
              <a:gd name="connsiteX19" fmla="*/ 3353155 w 5989428"/>
              <a:gd name="connsiteY19" fmla="*/ 1211286 h 1477986"/>
              <a:gd name="connsiteX20" fmla="*/ 3353155 w 5989428"/>
              <a:gd name="connsiteY20" fmla="*/ 1096986 h 1477986"/>
              <a:gd name="connsiteX21" fmla="*/ 3353155 w 5989428"/>
              <a:gd name="connsiteY21" fmla="*/ 1096986 h 1477986"/>
              <a:gd name="connsiteX22" fmla="*/ 3353155 w 5989428"/>
              <a:gd name="connsiteY22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55538 w 5989428"/>
              <a:gd name="connsiteY17" fmla="*/ 1354162 h 1477986"/>
              <a:gd name="connsiteX18" fmla="*/ 2486381 w 5989428"/>
              <a:gd name="connsiteY18" fmla="*/ 1201761 h 1477986"/>
              <a:gd name="connsiteX19" fmla="*/ 3353155 w 5989428"/>
              <a:gd name="connsiteY19" fmla="*/ 1211286 h 1477986"/>
              <a:gd name="connsiteX20" fmla="*/ 3353155 w 5989428"/>
              <a:gd name="connsiteY20" fmla="*/ 1096986 h 1477986"/>
              <a:gd name="connsiteX21" fmla="*/ 3353155 w 5989428"/>
              <a:gd name="connsiteY21" fmla="*/ 1096986 h 1477986"/>
              <a:gd name="connsiteX22" fmla="*/ 3353155 w 5989428"/>
              <a:gd name="connsiteY22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55538 w 5989428"/>
              <a:gd name="connsiteY17" fmla="*/ 1354162 h 1477986"/>
              <a:gd name="connsiteX18" fmla="*/ 2486381 w 5989428"/>
              <a:gd name="connsiteY18" fmla="*/ 1201761 h 1477986"/>
              <a:gd name="connsiteX19" fmla="*/ 3353155 w 5989428"/>
              <a:gd name="connsiteY19" fmla="*/ 1211286 h 1477986"/>
              <a:gd name="connsiteX20" fmla="*/ 3353155 w 5989428"/>
              <a:gd name="connsiteY20" fmla="*/ 1096986 h 1477986"/>
              <a:gd name="connsiteX21" fmla="*/ 3353155 w 5989428"/>
              <a:gd name="connsiteY21" fmla="*/ 1096986 h 1477986"/>
              <a:gd name="connsiteX22" fmla="*/ 3353155 w 5989428"/>
              <a:gd name="connsiteY22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55538 w 5989428"/>
              <a:gd name="connsiteY17" fmla="*/ 1354162 h 1477986"/>
              <a:gd name="connsiteX18" fmla="*/ 2486381 w 5989428"/>
              <a:gd name="connsiteY18" fmla="*/ 1201761 h 1477986"/>
              <a:gd name="connsiteX19" fmla="*/ 3353155 w 5989428"/>
              <a:gd name="connsiteY19" fmla="*/ 1211286 h 1477986"/>
              <a:gd name="connsiteX20" fmla="*/ 3353155 w 5989428"/>
              <a:gd name="connsiteY20" fmla="*/ 1096986 h 1477986"/>
              <a:gd name="connsiteX21" fmla="*/ 3353155 w 5989428"/>
              <a:gd name="connsiteY21" fmla="*/ 1096986 h 1477986"/>
              <a:gd name="connsiteX22" fmla="*/ 3353155 w 5989428"/>
              <a:gd name="connsiteY22" fmla="*/ 1096988 h 1477986"/>
              <a:gd name="connsiteX0" fmla="*/ 3353155 w 5989428"/>
              <a:gd name="connsiteY0" fmla="*/ 1096988 h 1477986"/>
              <a:gd name="connsiteX1" fmla="*/ 3429357 w 5989428"/>
              <a:gd name="connsiteY1" fmla="*/ 1020786 h 1477986"/>
              <a:gd name="connsiteX2" fmla="*/ 3792534 w 5989428"/>
              <a:gd name="connsiteY2" fmla="*/ 1020786 h 1477986"/>
              <a:gd name="connsiteX3" fmla="*/ 0 w 5989428"/>
              <a:gd name="connsiteY3" fmla="*/ 0 h 1477986"/>
              <a:gd name="connsiteX4" fmla="*/ 4451602 w 5989428"/>
              <a:gd name="connsiteY4" fmla="*/ 1020786 h 1477986"/>
              <a:gd name="connsiteX5" fmla="*/ 5913226 w 5989428"/>
              <a:gd name="connsiteY5" fmla="*/ 1020786 h 1477986"/>
              <a:gd name="connsiteX6" fmla="*/ 5989428 w 5989428"/>
              <a:gd name="connsiteY6" fmla="*/ 1096988 h 1477986"/>
              <a:gd name="connsiteX7" fmla="*/ 5989428 w 5989428"/>
              <a:gd name="connsiteY7" fmla="*/ 1096986 h 1477986"/>
              <a:gd name="connsiteX8" fmla="*/ 5989428 w 5989428"/>
              <a:gd name="connsiteY8" fmla="*/ 1096986 h 1477986"/>
              <a:gd name="connsiteX9" fmla="*/ 5989428 w 5989428"/>
              <a:gd name="connsiteY9" fmla="*/ 1211286 h 1477986"/>
              <a:gd name="connsiteX10" fmla="*/ 5989428 w 5989428"/>
              <a:gd name="connsiteY10" fmla="*/ 1401784 h 1477986"/>
              <a:gd name="connsiteX11" fmla="*/ 5913226 w 5989428"/>
              <a:gd name="connsiteY11" fmla="*/ 1477986 h 1477986"/>
              <a:gd name="connsiteX12" fmla="*/ 4451602 w 5989428"/>
              <a:gd name="connsiteY12" fmla="*/ 1477986 h 1477986"/>
              <a:gd name="connsiteX13" fmla="*/ 3792534 w 5989428"/>
              <a:gd name="connsiteY13" fmla="*/ 1477986 h 1477986"/>
              <a:gd name="connsiteX14" fmla="*/ 3792534 w 5989428"/>
              <a:gd name="connsiteY14" fmla="*/ 1477986 h 1477986"/>
              <a:gd name="connsiteX15" fmla="*/ 3429357 w 5989428"/>
              <a:gd name="connsiteY15" fmla="*/ 1477986 h 1477986"/>
              <a:gd name="connsiteX16" fmla="*/ 3353155 w 5989428"/>
              <a:gd name="connsiteY16" fmla="*/ 1401784 h 1477986"/>
              <a:gd name="connsiteX17" fmla="*/ 3355538 w 5989428"/>
              <a:gd name="connsiteY17" fmla="*/ 1354162 h 1477986"/>
              <a:gd name="connsiteX18" fmla="*/ 2486381 w 5989428"/>
              <a:gd name="connsiteY18" fmla="*/ 1201761 h 1477986"/>
              <a:gd name="connsiteX19" fmla="*/ 3353155 w 5989428"/>
              <a:gd name="connsiteY19" fmla="*/ 1211286 h 1477986"/>
              <a:gd name="connsiteX20" fmla="*/ 3353155 w 5989428"/>
              <a:gd name="connsiteY20" fmla="*/ 1096986 h 1477986"/>
              <a:gd name="connsiteX21" fmla="*/ 3353155 w 5989428"/>
              <a:gd name="connsiteY21" fmla="*/ 1096986 h 1477986"/>
              <a:gd name="connsiteX22" fmla="*/ 3353155 w 5989428"/>
              <a:gd name="connsiteY22" fmla="*/ 1096988 h 1477986"/>
              <a:gd name="connsiteX0" fmla="*/ 3381374 w 6017647"/>
              <a:gd name="connsiteY0" fmla="*/ 1096988 h 1477986"/>
              <a:gd name="connsiteX1" fmla="*/ 3457576 w 6017647"/>
              <a:gd name="connsiteY1" fmla="*/ 1020786 h 1477986"/>
              <a:gd name="connsiteX2" fmla="*/ 3820753 w 6017647"/>
              <a:gd name="connsiteY2" fmla="*/ 1020786 h 1477986"/>
              <a:gd name="connsiteX3" fmla="*/ 28219 w 6017647"/>
              <a:gd name="connsiteY3" fmla="*/ 0 h 1477986"/>
              <a:gd name="connsiteX4" fmla="*/ 4479821 w 6017647"/>
              <a:gd name="connsiteY4" fmla="*/ 1020786 h 1477986"/>
              <a:gd name="connsiteX5" fmla="*/ 5941445 w 6017647"/>
              <a:gd name="connsiteY5" fmla="*/ 1020786 h 1477986"/>
              <a:gd name="connsiteX6" fmla="*/ 6017647 w 6017647"/>
              <a:gd name="connsiteY6" fmla="*/ 1096988 h 1477986"/>
              <a:gd name="connsiteX7" fmla="*/ 6017647 w 6017647"/>
              <a:gd name="connsiteY7" fmla="*/ 1096986 h 1477986"/>
              <a:gd name="connsiteX8" fmla="*/ 6017647 w 6017647"/>
              <a:gd name="connsiteY8" fmla="*/ 1096986 h 1477986"/>
              <a:gd name="connsiteX9" fmla="*/ 6017647 w 6017647"/>
              <a:gd name="connsiteY9" fmla="*/ 1211286 h 1477986"/>
              <a:gd name="connsiteX10" fmla="*/ 6017647 w 6017647"/>
              <a:gd name="connsiteY10" fmla="*/ 1401784 h 1477986"/>
              <a:gd name="connsiteX11" fmla="*/ 5941445 w 6017647"/>
              <a:gd name="connsiteY11" fmla="*/ 1477986 h 1477986"/>
              <a:gd name="connsiteX12" fmla="*/ 4479821 w 6017647"/>
              <a:gd name="connsiteY12" fmla="*/ 1477986 h 1477986"/>
              <a:gd name="connsiteX13" fmla="*/ 3820753 w 6017647"/>
              <a:gd name="connsiteY13" fmla="*/ 1477986 h 1477986"/>
              <a:gd name="connsiteX14" fmla="*/ 3820753 w 6017647"/>
              <a:gd name="connsiteY14" fmla="*/ 1477986 h 1477986"/>
              <a:gd name="connsiteX15" fmla="*/ 3457576 w 6017647"/>
              <a:gd name="connsiteY15" fmla="*/ 1477986 h 1477986"/>
              <a:gd name="connsiteX16" fmla="*/ 3381374 w 6017647"/>
              <a:gd name="connsiteY16" fmla="*/ 1401784 h 1477986"/>
              <a:gd name="connsiteX17" fmla="*/ 3383757 w 6017647"/>
              <a:gd name="connsiteY17" fmla="*/ 1354162 h 1477986"/>
              <a:gd name="connsiteX18" fmla="*/ 0 w 6017647"/>
              <a:gd name="connsiteY18" fmla="*/ 378801 h 1477986"/>
              <a:gd name="connsiteX19" fmla="*/ 3381374 w 6017647"/>
              <a:gd name="connsiteY19" fmla="*/ 1211286 h 1477986"/>
              <a:gd name="connsiteX20" fmla="*/ 3381374 w 6017647"/>
              <a:gd name="connsiteY20" fmla="*/ 1096986 h 1477986"/>
              <a:gd name="connsiteX21" fmla="*/ 3381374 w 6017647"/>
              <a:gd name="connsiteY21" fmla="*/ 1096986 h 1477986"/>
              <a:gd name="connsiteX22" fmla="*/ 3381374 w 6017647"/>
              <a:gd name="connsiteY22" fmla="*/ 1096988 h 1477986"/>
              <a:gd name="connsiteX0" fmla="*/ 3381374 w 6017647"/>
              <a:gd name="connsiteY0" fmla="*/ 718187 h 1099185"/>
              <a:gd name="connsiteX1" fmla="*/ 3457576 w 6017647"/>
              <a:gd name="connsiteY1" fmla="*/ 641985 h 1099185"/>
              <a:gd name="connsiteX2" fmla="*/ 3820753 w 6017647"/>
              <a:gd name="connsiteY2" fmla="*/ 641985 h 1099185"/>
              <a:gd name="connsiteX3" fmla="*/ 4479821 w 6017647"/>
              <a:gd name="connsiteY3" fmla="*/ 641985 h 1099185"/>
              <a:gd name="connsiteX4" fmla="*/ 5941445 w 6017647"/>
              <a:gd name="connsiteY4" fmla="*/ 641985 h 1099185"/>
              <a:gd name="connsiteX5" fmla="*/ 6017647 w 6017647"/>
              <a:gd name="connsiteY5" fmla="*/ 718187 h 1099185"/>
              <a:gd name="connsiteX6" fmla="*/ 6017647 w 6017647"/>
              <a:gd name="connsiteY6" fmla="*/ 718185 h 1099185"/>
              <a:gd name="connsiteX7" fmla="*/ 6017647 w 6017647"/>
              <a:gd name="connsiteY7" fmla="*/ 718185 h 1099185"/>
              <a:gd name="connsiteX8" fmla="*/ 6017647 w 6017647"/>
              <a:gd name="connsiteY8" fmla="*/ 832485 h 1099185"/>
              <a:gd name="connsiteX9" fmla="*/ 6017647 w 6017647"/>
              <a:gd name="connsiteY9" fmla="*/ 1022983 h 1099185"/>
              <a:gd name="connsiteX10" fmla="*/ 5941445 w 6017647"/>
              <a:gd name="connsiteY10" fmla="*/ 1099185 h 1099185"/>
              <a:gd name="connsiteX11" fmla="*/ 4479821 w 6017647"/>
              <a:gd name="connsiteY11" fmla="*/ 1099185 h 1099185"/>
              <a:gd name="connsiteX12" fmla="*/ 3820753 w 6017647"/>
              <a:gd name="connsiteY12" fmla="*/ 1099185 h 1099185"/>
              <a:gd name="connsiteX13" fmla="*/ 3820753 w 6017647"/>
              <a:gd name="connsiteY13" fmla="*/ 1099185 h 1099185"/>
              <a:gd name="connsiteX14" fmla="*/ 3457576 w 6017647"/>
              <a:gd name="connsiteY14" fmla="*/ 1099185 h 1099185"/>
              <a:gd name="connsiteX15" fmla="*/ 3381374 w 6017647"/>
              <a:gd name="connsiteY15" fmla="*/ 1022983 h 1099185"/>
              <a:gd name="connsiteX16" fmla="*/ 3383757 w 6017647"/>
              <a:gd name="connsiteY16" fmla="*/ 975361 h 1099185"/>
              <a:gd name="connsiteX17" fmla="*/ 0 w 6017647"/>
              <a:gd name="connsiteY17" fmla="*/ 0 h 1099185"/>
              <a:gd name="connsiteX18" fmla="*/ 3381374 w 6017647"/>
              <a:gd name="connsiteY18" fmla="*/ 832485 h 1099185"/>
              <a:gd name="connsiteX19" fmla="*/ 3381374 w 6017647"/>
              <a:gd name="connsiteY19" fmla="*/ 718185 h 1099185"/>
              <a:gd name="connsiteX20" fmla="*/ 3381374 w 6017647"/>
              <a:gd name="connsiteY20" fmla="*/ 718185 h 1099185"/>
              <a:gd name="connsiteX21" fmla="*/ 3381374 w 6017647"/>
              <a:gd name="connsiteY21" fmla="*/ 718187 h 1099185"/>
              <a:gd name="connsiteX0" fmla="*/ 3381374 w 6017647"/>
              <a:gd name="connsiteY0" fmla="*/ 718187 h 1099185"/>
              <a:gd name="connsiteX1" fmla="*/ 3457576 w 6017647"/>
              <a:gd name="connsiteY1" fmla="*/ 641985 h 1099185"/>
              <a:gd name="connsiteX2" fmla="*/ 3820753 w 6017647"/>
              <a:gd name="connsiteY2" fmla="*/ 641985 h 1099185"/>
              <a:gd name="connsiteX3" fmla="*/ 5941445 w 6017647"/>
              <a:gd name="connsiteY3" fmla="*/ 641985 h 1099185"/>
              <a:gd name="connsiteX4" fmla="*/ 6017647 w 6017647"/>
              <a:gd name="connsiteY4" fmla="*/ 718187 h 1099185"/>
              <a:gd name="connsiteX5" fmla="*/ 6017647 w 6017647"/>
              <a:gd name="connsiteY5" fmla="*/ 718185 h 1099185"/>
              <a:gd name="connsiteX6" fmla="*/ 6017647 w 6017647"/>
              <a:gd name="connsiteY6" fmla="*/ 718185 h 1099185"/>
              <a:gd name="connsiteX7" fmla="*/ 6017647 w 6017647"/>
              <a:gd name="connsiteY7" fmla="*/ 832485 h 1099185"/>
              <a:gd name="connsiteX8" fmla="*/ 6017647 w 6017647"/>
              <a:gd name="connsiteY8" fmla="*/ 1022983 h 1099185"/>
              <a:gd name="connsiteX9" fmla="*/ 5941445 w 6017647"/>
              <a:gd name="connsiteY9" fmla="*/ 1099185 h 1099185"/>
              <a:gd name="connsiteX10" fmla="*/ 4479821 w 6017647"/>
              <a:gd name="connsiteY10" fmla="*/ 1099185 h 1099185"/>
              <a:gd name="connsiteX11" fmla="*/ 3820753 w 6017647"/>
              <a:gd name="connsiteY11" fmla="*/ 1099185 h 1099185"/>
              <a:gd name="connsiteX12" fmla="*/ 3820753 w 6017647"/>
              <a:gd name="connsiteY12" fmla="*/ 1099185 h 1099185"/>
              <a:gd name="connsiteX13" fmla="*/ 3457576 w 6017647"/>
              <a:gd name="connsiteY13" fmla="*/ 1099185 h 1099185"/>
              <a:gd name="connsiteX14" fmla="*/ 3381374 w 6017647"/>
              <a:gd name="connsiteY14" fmla="*/ 1022983 h 1099185"/>
              <a:gd name="connsiteX15" fmla="*/ 3383757 w 6017647"/>
              <a:gd name="connsiteY15" fmla="*/ 975361 h 1099185"/>
              <a:gd name="connsiteX16" fmla="*/ 0 w 6017647"/>
              <a:gd name="connsiteY16" fmla="*/ 0 h 1099185"/>
              <a:gd name="connsiteX17" fmla="*/ 3381374 w 6017647"/>
              <a:gd name="connsiteY17" fmla="*/ 832485 h 1099185"/>
              <a:gd name="connsiteX18" fmla="*/ 3381374 w 6017647"/>
              <a:gd name="connsiteY18" fmla="*/ 718185 h 1099185"/>
              <a:gd name="connsiteX19" fmla="*/ 3381374 w 6017647"/>
              <a:gd name="connsiteY19" fmla="*/ 718185 h 1099185"/>
              <a:gd name="connsiteX20" fmla="*/ 3381374 w 6017647"/>
              <a:gd name="connsiteY20" fmla="*/ 718187 h 1099185"/>
              <a:gd name="connsiteX0" fmla="*/ 3381374 w 6017647"/>
              <a:gd name="connsiteY0" fmla="*/ 718187 h 1099185"/>
              <a:gd name="connsiteX1" fmla="*/ 3457576 w 6017647"/>
              <a:gd name="connsiteY1" fmla="*/ 641985 h 1099185"/>
              <a:gd name="connsiteX2" fmla="*/ 3820753 w 6017647"/>
              <a:gd name="connsiteY2" fmla="*/ 641985 h 1099185"/>
              <a:gd name="connsiteX3" fmla="*/ 5941445 w 6017647"/>
              <a:gd name="connsiteY3" fmla="*/ 641985 h 1099185"/>
              <a:gd name="connsiteX4" fmla="*/ 6017647 w 6017647"/>
              <a:gd name="connsiteY4" fmla="*/ 718187 h 1099185"/>
              <a:gd name="connsiteX5" fmla="*/ 6017647 w 6017647"/>
              <a:gd name="connsiteY5" fmla="*/ 718185 h 1099185"/>
              <a:gd name="connsiteX6" fmla="*/ 6017647 w 6017647"/>
              <a:gd name="connsiteY6" fmla="*/ 718185 h 1099185"/>
              <a:gd name="connsiteX7" fmla="*/ 6017647 w 6017647"/>
              <a:gd name="connsiteY7" fmla="*/ 832485 h 1099185"/>
              <a:gd name="connsiteX8" fmla="*/ 6017647 w 6017647"/>
              <a:gd name="connsiteY8" fmla="*/ 1022983 h 1099185"/>
              <a:gd name="connsiteX9" fmla="*/ 5941445 w 6017647"/>
              <a:gd name="connsiteY9" fmla="*/ 1099185 h 1099185"/>
              <a:gd name="connsiteX10" fmla="*/ 4479821 w 6017647"/>
              <a:gd name="connsiteY10" fmla="*/ 1099185 h 1099185"/>
              <a:gd name="connsiteX11" fmla="*/ 3820753 w 6017647"/>
              <a:gd name="connsiteY11" fmla="*/ 1099185 h 1099185"/>
              <a:gd name="connsiteX12" fmla="*/ 3820753 w 6017647"/>
              <a:gd name="connsiteY12" fmla="*/ 1099185 h 1099185"/>
              <a:gd name="connsiteX13" fmla="*/ 3457576 w 6017647"/>
              <a:gd name="connsiteY13" fmla="*/ 1099185 h 1099185"/>
              <a:gd name="connsiteX14" fmla="*/ 3381374 w 6017647"/>
              <a:gd name="connsiteY14" fmla="*/ 1022983 h 1099185"/>
              <a:gd name="connsiteX15" fmla="*/ 3383757 w 6017647"/>
              <a:gd name="connsiteY15" fmla="*/ 975361 h 1099185"/>
              <a:gd name="connsiteX16" fmla="*/ 0 w 6017647"/>
              <a:gd name="connsiteY16" fmla="*/ 0 h 1099185"/>
              <a:gd name="connsiteX17" fmla="*/ 3381374 w 6017647"/>
              <a:gd name="connsiteY17" fmla="*/ 832485 h 1099185"/>
              <a:gd name="connsiteX18" fmla="*/ 3381374 w 6017647"/>
              <a:gd name="connsiteY18" fmla="*/ 718185 h 1099185"/>
              <a:gd name="connsiteX19" fmla="*/ 3381374 w 6017647"/>
              <a:gd name="connsiteY19" fmla="*/ 718185 h 1099185"/>
              <a:gd name="connsiteX20" fmla="*/ 3381374 w 6017647"/>
              <a:gd name="connsiteY20" fmla="*/ 718187 h 1099185"/>
              <a:gd name="connsiteX0" fmla="*/ 3381374 w 6017647"/>
              <a:gd name="connsiteY0" fmla="*/ 718187 h 1099185"/>
              <a:gd name="connsiteX1" fmla="*/ 3457576 w 6017647"/>
              <a:gd name="connsiteY1" fmla="*/ 641985 h 1099185"/>
              <a:gd name="connsiteX2" fmla="*/ 3820753 w 6017647"/>
              <a:gd name="connsiteY2" fmla="*/ 641985 h 1099185"/>
              <a:gd name="connsiteX3" fmla="*/ 5941445 w 6017647"/>
              <a:gd name="connsiteY3" fmla="*/ 641985 h 1099185"/>
              <a:gd name="connsiteX4" fmla="*/ 6017647 w 6017647"/>
              <a:gd name="connsiteY4" fmla="*/ 718187 h 1099185"/>
              <a:gd name="connsiteX5" fmla="*/ 6017647 w 6017647"/>
              <a:gd name="connsiteY5" fmla="*/ 718185 h 1099185"/>
              <a:gd name="connsiteX6" fmla="*/ 6017647 w 6017647"/>
              <a:gd name="connsiteY6" fmla="*/ 718185 h 1099185"/>
              <a:gd name="connsiteX7" fmla="*/ 6017647 w 6017647"/>
              <a:gd name="connsiteY7" fmla="*/ 832485 h 1099185"/>
              <a:gd name="connsiteX8" fmla="*/ 6017647 w 6017647"/>
              <a:gd name="connsiteY8" fmla="*/ 1022983 h 1099185"/>
              <a:gd name="connsiteX9" fmla="*/ 5941445 w 6017647"/>
              <a:gd name="connsiteY9" fmla="*/ 1099185 h 1099185"/>
              <a:gd name="connsiteX10" fmla="*/ 4479821 w 6017647"/>
              <a:gd name="connsiteY10" fmla="*/ 1099185 h 1099185"/>
              <a:gd name="connsiteX11" fmla="*/ 3820753 w 6017647"/>
              <a:gd name="connsiteY11" fmla="*/ 1099185 h 1099185"/>
              <a:gd name="connsiteX12" fmla="*/ 3820753 w 6017647"/>
              <a:gd name="connsiteY12" fmla="*/ 1099185 h 1099185"/>
              <a:gd name="connsiteX13" fmla="*/ 3457576 w 6017647"/>
              <a:gd name="connsiteY13" fmla="*/ 1099185 h 1099185"/>
              <a:gd name="connsiteX14" fmla="*/ 3381374 w 6017647"/>
              <a:gd name="connsiteY14" fmla="*/ 1022983 h 1099185"/>
              <a:gd name="connsiteX15" fmla="*/ 3383757 w 6017647"/>
              <a:gd name="connsiteY15" fmla="*/ 975361 h 1099185"/>
              <a:gd name="connsiteX16" fmla="*/ 0 w 6017647"/>
              <a:gd name="connsiteY16" fmla="*/ 0 h 1099185"/>
              <a:gd name="connsiteX17" fmla="*/ 3381374 w 6017647"/>
              <a:gd name="connsiteY17" fmla="*/ 832485 h 1099185"/>
              <a:gd name="connsiteX18" fmla="*/ 3381374 w 6017647"/>
              <a:gd name="connsiteY18" fmla="*/ 718185 h 1099185"/>
              <a:gd name="connsiteX19" fmla="*/ 3381374 w 6017647"/>
              <a:gd name="connsiteY19" fmla="*/ 718185 h 1099185"/>
              <a:gd name="connsiteX20" fmla="*/ 3381374 w 6017647"/>
              <a:gd name="connsiteY20" fmla="*/ 718187 h 1099185"/>
              <a:gd name="connsiteX0" fmla="*/ 3381374 w 6017647"/>
              <a:gd name="connsiteY0" fmla="*/ 718187 h 1099185"/>
              <a:gd name="connsiteX1" fmla="*/ 3457576 w 6017647"/>
              <a:gd name="connsiteY1" fmla="*/ 641985 h 1099185"/>
              <a:gd name="connsiteX2" fmla="*/ 3820753 w 6017647"/>
              <a:gd name="connsiteY2" fmla="*/ 641985 h 1099185"/>
              <a:gd name="connsiteX3" fmla="*/ 5941445 w 6017647"/>
              <a:gd name="connsiteY3" fmla="*/ 641985 h 1099185"/>
              <a:gd name="connsiteX4" fmla="*/ 6017647 w 6017647"/>
              <a:gd name="connsiteY4" fmla="*/ 718187 h 1099185"/>
              <a:gd name="connsiteX5" fmla="*/ 6017647 w 6017647"/>
              <a:gd name="connsiteY5" fmla="*/ 718185 h 1099185"/>
              <a:gd name="connsiteX6" fmla="*/ 6017647 w 6017647"/>
              <a:gd name="connsiteY6" fmla="*/ 718185 h 1099185"/>
              <a:gd name="connsiteX7" fmla="*/ 6017647 w 6017647"/>
              <a:gd name="connsiteY7" fmla="*/ 832485 h 1099185"/>
              <a:gd name="connsiteX8" fmla="*/ 6017647 w 6017647"/>
              <a:gd name="connsiteY8" fmla="*/ 1022983 h 1099185"/>
              <a:gd name="connsiteX9" fmla="*/ 5941445 w 6017647"/>
              <a:gd name="connsiteY9" fmla="*/ 1099185 h 1099185"/>
              <a:gd name="connsiteX10" fmla="*/ 4479821 w 6017647"/>
              <a:gd name="connsiteY10" fmla="*/ 1099185 h 1099185"/>
              <a:gd name="connsiteX11" fmla="*/ 3820753 w 6017647"/>
              <a:gd name="connsiteY11" fmla="*/ 1099185 h 1099185"/>
              <a:gd name="connsiteX12" fmla="*/ 3820753 w 6017647"/>
              <a:gd name="connsiteY12" fmla="*/ 1099185 h 1099185"/>
              <a:gd name="connsiteX13" fmla="*/ 3457576 w 6017647"/>
              <a:gd name="connsiteY13" fmla="*/ 1099185 h 1099185"/>
              <a:gd name="connsiteX14" fmla="*/ 3381374 w 6017647"/>
              <a:gd name="connsiteY14" fmla="*/ 1022983 h 1099185"/>
              <a:gd name="connsiteX15" fmla="*/ 3383757 w 6017647"/>
              <a:gd name="connsiteY15" fmla="*/ 975361 h 1099185"/>
              <a:gd name="connsiteX16" fmla="*/ 0 w 6017647"/>
              <a:gd name="connsiteY16" fmla="*/ 0 h 1099185"/>
              <a:gd name="connsiteX17" fmla="*/ 3381374 w 6017647"/>
              <a:gd name="connsiteY17" fmla="*/ 832485 h 1099185"/>
              <a:gd name="connsiteX18" fmla="*/ 3381374 w 6017647"/>
              <a:gd name="connsiteY18" fmla="*/ 718185 h 1099185"/>
              <a:gd name="connsiteX19" fmla="*/ 3381374 w 6017647"/>
              <a:gd name="connsiteY19" fmla="*/ 718185 h 1099185"/>
              <a:gd name="connsiteX20" fmla="*/ 3381374 w 6017647"/>
              <a:gd name="connsiteY20" fmla="*/ 718187 h 1099185"/>
              <a:gd name="connsiteX0" fmla="*/ 3381374 w 6017647"/>
              <a:gd name="connsiteY0" fmla="*/ 718187 h 1099185"/>
              <a:gd name="connsiteX1" fmla="*/ 3457576 w 6017647"/>
              <a:gd name="connsiteY1" fmla="*/ 641985 h 1099185"/>
              <a:gd name="connsiteX2" fmla="*/ 3820753 w 6017647"/>
              <a:gd name="connsiteY2" fmla="*/ 641985 h 1099185"/>
              <a:gd name="connsiteX3" fmla="*/ 5941445 w 6017647"/>
              <a:gd name="connsiteY3" fmla="*/ 641985 h 1099185"/>
              <a:gd name="connsiteX4" fmla="*/ 6017647 w 6017647"/>
              <a:gd name="connsiteY4" fmla="*/ 718187 h 1099185"/>
              <a:gd name="connsiteX5" fmla="*/ 6017647 w 6017647"/>
              <a:gd name="connsiteY5" fmla="*/ 718185 h 1099185"/>
              <a:gd name="connsiteX6" fmla="*/ 6017647 w 6017647"/>
              <a:gd name="connsiteY6" fmla="*/ 718185 h 1099185"/>
              <a:gd name="connsiteX7" fmla="*/ 6017647 w 6017647"/>
              <a:gd name="connsiteY7" fmla="*/ 832485 h 1099185"/>
              <a:gd name="connsiteX8" fmla="*/ 6017647 w 6017647"/>
              <a:gd name="connsiteY8" fmla="*/ 1022983 h 1099185"/>
              <a:gd name="connsiteX9" fmla="*/ 5941445 w 6017647"/>
              <a:gd name="connsiteY9" fmla="*/ 1099185 h 1099185"/>
              <a:gd name="connsiteX10" fmla="*/ 4479821 w 6017647"/>
              <a:gd name="connsiteY10" fmla="*/ 1099185 h 1099185"/>
              <a:gd name="connsiteX11" fmla="*/ 3820753 w 6017647"/>
              <a:gd name="connsiteY11" fmla="*/ 1099185 h 1099185"/>
              <a:gd name="connsiteX12" fmla="*/ 3820753 w 6017647"/>
              <a:gd name="connsiteY12" fmla="*/ 1099185 h 1099185"/>
              <a:gd name="connsiteX13" fmla="*/ 3457576 w 6017647"/>
              <a:gd name="connsiteY13" fmla="*/ 1099185 h 1099185"/>
              <a:gd name="connsiteX14" fmla="*/ 3381374 w 6017647"/>
              <a:gd name="connsiteY14" fmla="*/ 1022983 h 1099185"/>
              <a:gd name="connsiteX15" fmla="*/ 3383757 w 6017647"/>
              <a:gd name="connsiteY15" fmla="*/ 975361 h 1099185"/>
              <a:gd name="connsiteX16" fmla="*/ 0 w 6017647"/>
              <a:gd name="connsiteY16" fmla="*/ 0 h 1099185"/>
              <a:gd name="connsiteX17" fmla="*/ 3381374 w 6017647"/>
              <a:gd name="connsiteY17" fmla="*/ 832485 h 1099185"/>
              <a:gd name="connsiteX18" fmla="*/ 3381374 w 6017647"/>
              <a:gd name="connsiteY18" fmla="*/ 718185 h 1099185"/>
              <a:gd name="connsiteX19" fmla="*/ 3381374 w 6017647"/>
              <a:gd name="connsiteY19" fmla="*/ 718185 h 1099185"/>
              <a:gd name="connsiteX20" fmla="*/ 3381374 w 6017647"/>
              <a:gd name="connsiteY20" fmla="*/ 718187 h 1099185"/>
              <a:gd name="connsiteX0" fmla="*/ 3381374 w 6017647"/>
              <a:gd name="connsiteY0" fmla="*/ 718187 h 1099185"/>
              <a:gd name="connsiteX1" fmla="*/ 3457576 w 6017647"/>
              <a:gd name="connsiteY1" fmla="*/ 641985 h 1099185"/>
              <a:gd name="connsiteX2" fmla="*/ 3820753 w 6017647"/>
              <a:gd name="connsiteY2" fmla="*/ 641985 h 1099185"/>
              <a:gd name="connsiteX3" fmla="*/ 5941445 w 6017647"/>
              <a:gd name="connsiteY3" fmla="*/ 641985 h 1099185"/>
              <a:gd name="connsiteX4" fmla="*/ 6017647 w 6017647"/>
              <a:gd name="connsiteY4" fmla="*/ 718187 h 1099185"/>
              <a:gd name="connsiteX5" fmla="*/ 6017647 w 6017647"/>
              <a:gd name="connsiteY5" fmla="*/ 718185 h 1099185"/>
              <a:gd name="connsiteX6" fmla="*/ 6017647 w 6017647"/>
              <a:gd name="connsiteY6" fmla="*/ 718185 h 1099185"/>
              <a:gd name="connsiteX7" fmla="*/ 6017647 w 6017647"/>
              <a:gd name="connsiteY7" fmla="*/ 832485 h 1099185"/>
              <a:gd name="connsiteX8" fmla="*/ 6017647 w 6017647"/>
              <a:gd name="connsiteY8" fmla="*/ 1022983 h 1099185"/>
              <a:gd name="connsiteX9" fmla="*/ 5941445 w 6017647"/>
              <a:gd name="connsiteY9" fmla="*/ 1099185 h 1099185"/>
              <a:gd name="connsiteX10" fmla="*/ 4479821 w 6017647"/>
              <a:gd name="connsiteY10" fmla="*/ 1099185 h 1099185"/>
              <a:gd name="connsiteX11" fmla="*/ 3820753 w 6017647"/>
              <a:gd name="connsiteY11" fmla="*/ 1099185 h 1099185"/>
              <a:gd name="connsiteX12" fmla="*/ 3820753 w 6017647"/>
              <a:gd name="connsiteY12" fmla="*/ 1099185 h 1099185"/>
              <a:gd name="connsiteX13" fmla="*/ 3457576 w 6017647"/>
              <a:gd name="connsiteY13" fmla="*/ 1099185 h 1099185"/>
              <a:gd name="connsiteX14" fmla="*/ 3381374 w 6017647"/>
              <a:gd name="connsiteY14" fmla="*/ 1022983 h 1099185"/>
              <a:gd name="connsiteX15" fmla="*/ 3383757 w 6017647"/>
              <a:gd name="connsiteY15" fmla="*/ 975361 h 1099185"/>
              <a:gd name="connsiteX16" fmla="*/ 0 w 6017647"/>
              <a:gd name="connsiteY16" fmla="*/ 0 h 1099185"/>
              <a:gd name="connsiteX17" fmla="*/ 3381374 w 6017647"/>
              <a:gd name="connsiteY17" fmla="*/ 832485 h 1099185"/>
              <a:gd name="connsiteX18" fmla="*/ 3381374 w 6017647"/>
              <a:gd name="connsiteY18" fmla="*/ 718185 h 1099185"/>
              <a:gd name="connsiteX19" fmla="*/ 3381374 w 6017647"/>
              <a:gd name="connsiteY19" fmla="*/ 718185 h 1099185"/>
              <a:gd name="connsiteX20" fmla="*/ 3381374 w 6017647"/>
              <a:gd name="connsiteY20" fmla="*/ 718187 h 109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6017647" h="1099185">
                <a:moveTo>
                  <a:pt x="3381374" y="718187"/>
                </a:moveTo>
                <a:cubicBezTo>
                  <a:pt x="3381374" y="676102"/>
                  <a:pt x="3415491" y="641985"/>
                  <a:pt x="3457576" y="641985"/>
                </a:cubicBezTo>
                <a:lnTo>
                  <a:pt x="3820753" y="641985"/>
                </a:lnTo>
                <a:lnTo>
                  <a:pt x="5941445" y="641985"/>
                </a:lnTo>
                <a:cubicBezTo>
                  <a:pt x="5983530" y="641985"/>
                  <a:pt x="6017647" y="676102"/>
                  <a:pt x="6017647" y="718187"/>
                </a:cubicBezTo>
                <a:lnTo>
                  <a:pt x="6017647" y="718185"/>
                </a:lnTo>
                <a:lnTo>
                  <a:pt x="6017647" y="718185"/>
                </a:lnTo>
                <a:lnTo>
                  <a:pt x="6017647" y="832485"/>
                </a:lnTo>
                <a:lnTo>
                  <a:pt x="6017647" y="1022983"/>
                </a:lnTo>
                <a:cubicBezTo>
                  <a:pt x="6017647" y="1065068"/>
                  <a:pt x="5983530" y="1099185"/>
                  <a:pt x="5941445" y="1099185"/>
                </a:cubicBezTo>
                <a:lnTo>
                  <a:pt x="4479821" y="1099185"/>
                </a:lnTo>
                <a:lnTo>
                  <a:pt x="3820753" y="1099185"/>
                </a:lnTo>
                <a:lnTo>
                  <a:pt x="3820753" y="1099185"/>
                </a:lnTo>
                <a:lnTo>
                  <a:pt x="3457576" y="1099185"/>
                </a:lnTo>
                <a:cubicBezTo>
                  <a:pt x="3415491" y="1099185"/>
                  <a:pt x="3381374" y="1065068"/>
                  <a:pt x="3381374" y="1022983"/>
                </a:cubicBezTo>
                <a:lnTo>
                  <a:pt x="3383757" y="975361"/>
                </a:lnTo>
                <a:lnTo>
                  <a:pt x="0" y="0"/>
                </a:lnTo>
                <a:lnTo>
                  <a:pt x="3381374" y="832485"/>
                </a:lnTo>
                <a:lnTo>
                  <a:pt x="3381374" y="718185"/>
                </a:lnTo>
                <a:lnTo>
                  <a:pt x="3381374" y="718185"/>
                </a:lnTo>
                <a:lnTo>
                  <a:pt x="3381374" y="718187"/>
                </a:lnTo>
                <a:close/>
              </a:path>
            </a:pathLst>
          </a:cu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/>
            <a:r>
              <a:rPr lang="mr-IN" sz="12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ंतर प्रक्रिया केलेल्या पाण्याचा पुनर्वापर शक्य </a:t>
            </a:r>
            <a:endParaRPr lang="en-US" sz="1200" dirty="0" smtClean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r"/>
            <a:r>
              <a:rPr lang="en-US" sz="700" dirty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</p:txBody>
      </p:sp>
      <p:cxnSp>
        <p:nvCxnSpPr>
          <p:cNvPr id="9" name="Straight Connector 8"/>
          <p:cNvCxnSpPr>
            <a:stCxn id="16" idx="0"/>
            <a:endCxn id="16" idx="2"/>
          </p:cNvCxnSpPr>
          <p:nvPr/>
        </p:nvCxnSpPr>
        <p:spPr>
          <a:xfrm>
            <a:off x="1704633" y="3129201"/>
            <a:ext cx="0" cy="1166629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reeform 43"/>
          <p:cNvSpPr/>
          <p:nvPr/>
        </p:nvSpPr>
        <p:spPr>
          <a:xfrm>
            <a:off x="647700" y="4288029"/>
            <a:ext cx="1132919" cy="560464"/>
          </a:xfrm>
          <a:custGeom>
            <a:avLst/>
            <a:gdLst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481012 w 942975"/>
              <a:gd name="connsiteY9" fmla="*/ 219075 h 395288"/>
              <a:gd name="connsiteX10" fmla="*/ 342900 w 942975"/>
              <a:gd name="connsiteY10" fmla="*/ 142875 h 395288"/>
              <a:gd name="connsiteX11" fmla="*/ 185737 w 942975"/>
              <a:gd name="connsiteY11" fmla="*/ 109538 h 395288"/>
              <a:gd name="connsiteX12" fmla="*/ 42862 w 942975"/>
              <a:gd name="connsiteY12" fmla="*/ 90488 h 395288"/>
              <a:gd name="connsiteX13" fmla="*/ 0 w 942975"/>
              <a:gd name="connsiteY13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481012 w 942975"/>
              <a:gd name="connsiteY9" fmla="*/ 219075 h 395288"/>
              <a:gd name="connsiteX10" fmla="*/ 342900 w 942975"/>
              <a:gd name="connsiteY10" fmla="*/ 142875 h 395288"/>
              <a:gd name="connsiteX11" fmla="*/ 185737 w 942975"/>
              <a:gd name="connsiteY11" fmla="*/ 109538 h 395288"/>
              <a:gd name="connsiteX12" fmla="*/ 0 w 942975"/>
              <a:gd name="connsiteY12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481012 w 942975"/>
              <a:gd name="connsiteY9" fmla="*/ 219075 h 395288"/>
              <a:gd name="connsiteX10" fmla="*/ 342900 w 942975"/>
              <a:gd name="connsiteY10" fmla="*/ 142875 h 395288"/>
              <a:gd name="connsiteX11" fmla="*/ 185737 w 942975"/>
              <a:gd name="connsiteY11" fmla="*/ 109538 h 395288"/>
              <a:gd name="connsiteX12" fmla="*/ 0 w 942975"/>
              <a:gd name="connsiteY12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481012 w 942975"/>
              <a:gd name="connsiteY9" fmla="*/ 219075 h 395288"/>
              <a:gd name="connsiteX10" fmla="*/ 342900 w 942975"/>
              <a:gd name="connsiteY10" fmla="*/ 142875 h 395288"/>
              <a:gd name="connsiteX11" fmla="*/ 0 w 942975"/>
              <a:gd name="connsiteY11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481012 w 942975"/>
              <a:gd name="connsiteY9" fmla="*/ 219075 h 395288"/>
              <a:gd name="connsiteX10" fmla="*/ 342900 w 942975"/>
              <a:gd name="connsiteY10" fmla="*/ 142875 h 395288"/>
              <a:gd name="connsiteX11" fmla="*/ 0 w 942975"/>
              <a:gd name="connsiteY11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481012 w 942975"/>
              <a:gd name="connsiteY9" fmla="*/ 219075 h 395288"/>
              <a:gd name="connsiteX10" fmla="*/ 342900 w 942975"/>
              <a:gd name="connsiteY10" fmla="*/ 142875 h 395288"/>
              <a:gd name="connsiteX11" fmla="*/ 0 w 942975"/>
              <a:gd name="connsiteY11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481012 w 942975"/>
              <a:gd name="connsiteY9" fmla="*/ 219075 h 395288"/>
              <a:gd name="connsiteX10" fmla="*/ 342900 w 942975"/>
              <a:gd name="connsiteY10" fmla="*/ 142875 h 395288"/>
              <a:gd name="connsiteX11" fmla="*/ 0 w 942975"/>
              <a:gd name="connsiteY11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919162 w 942975"/>
              <a:gd name="connsiteY2" fmla="*/ 123825 h 395288"/>
              <a:gd name="connsiteX3" fmla="*/ 814387 w 942975"/>
              <a:gd name="connsiteY3" fmla="*/ 200025 h 395288"/>
              <a:gd name="connsiteX4" fmla="*/ 781050 w 942975"/>
              <a:gd name="connsiteY4" fmla="*/ 257175 h 395288"/>
              <a:gd name="connsiteX5" fmla="*/ 809625 w 942975"/>
              <a:gd name="connsiteY5" fmla="*/ 395288 h 395288"/>
              <a:gd name="connsiteX6" fmla="*/ 700087 w 942975"/>
              <a:gd name="connsiteY6" fmla="*/ 395288 h 395288"/>
              <a:gd name="connsiteX7" fmla="*/ 700087 w 942975"/>
              <a:gd name="connsiteY7" fmla="*/ 257175 h 395288"/>
              <a:gd name="connsiteX8" fmla="*/ 600075 w 942975"/>
              <a:gd name="connsiteY8" fmla="*/ 242888 h 395288"/>
              <a:gd name="connsiteX9" fmla="*/ 342900 w 942975"/>
              <a:gd name="connsiteY9" fmla="*/ 142875 h 395288"/>
              <a:gd name="connsiteX10" fmla="*/ 0 w 942975"/>
              <a:gd name="connsiteY10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814387 w 942975"/>
              <a:gd name="connsiteY2" fmla="*/ 200025 h 395288"/>
              <a:gd name="connsiteX3" fmla="*/ 781050 w 942975"/>
              <a:gd name="connsiteY3" fmla="*/ 257175 h 395288"/>
              <a:gd name="connsiteX4" fmla="*/ 809625 w 942975"/>
              <a:gd name="connsiteY4" fmla="*/ 395288 h 395288"/>
              <a:gd name="connsiteX5" fmla="*/ 700087 w 942975"/>
              <a:gd name="connsiteY5" fmla="*/ 395288 h 395288"/>
              <a:gd name="connsiteX6" fmla="*/ 700087 w 942975"/>
              <a:gd name="connsiteY6" fmla="*/ 257175 h 395288"/>
              <a:gd name="connsiteX7" fmla="*/ 600075 w 942975"/>
              <a:gd name="connsiteY7" fmla="*/ 242888 h 395288"/>
              <a:gd name="connsiteX8" fmla="*/ 342900 w 942975"/>
              <a:gd name="connsiteY8" fmla="*/ 142875 h 395288"/>
              <a:gd name="connsiteX9" fmla="*/ 0 w 942975"/>
              <a:gd name="connsiteY9" fmla="*/ 0 h 395288"/>
              <a:gd name="connsiteX0" fmla="*/ 0 w 942975"/>
              <a:gd name="connsiteY0" fmla="*/ 0 h 395288"/>
              <a:gd name="connsiteX1" fmla="*/ 942975 w 942975"/>
              <a:gd name="connsiteY1" fmla="*/ 0 h 395288"/>
              <a:gd name="connsiteX2" fmla="*/ 814387 w 942975"/>
              <a:gd name="connsiteY2" fmla="*/ 200025 h 395288"/>
              <a:gd name="connsiteX3" fmla="*/ 781050 w 942975"/>
              <a:gd name="connsiteY3" fmla="*/ 257175 h 395288"/>
              <a:gd name="connsiteX4" fmla="*/ 809625 w 942975"/>
              <a:gd name="connsiteY4" fmla="*/ 395288 h 395288"/>
              <a:gd name="connsiteX5" fmla="*/ 700087 w 942975"/>
              <a:gd name="connsiteY5" fmla="*/ 395288 h 395288"/>
              <a:gd name="connsiteX6" fmla="*/ 700087 w 942975"/>
              <a:gd name="connsiteY6" fmla="*/ 257175 h 395288"/>
              <a:gd name="connsiteX7" fmla="*/ 600075 w 942975"/>
              <a:gd name="connsiteY7" fmla="*/ 242888 h 395288"/>
              <a:gd name="connsiteX8" fmla="*/ 342900 w 942975"/>
              <a:gd name="connsiteY8" fmla="*/ 142875 h 395288"/>
              <a:gd name="connsiteX9" fmla="*/ 0 w 942975"/>
              <a:gd name="connsiteY9" fmla="*/ 0 h 395288"/>
              <a:gd name="connsiteX0" fmla="*/ 0 w 978298"/>
              <a:gd name="connsiteY0" fmla="*/ 0 h 395288"/>
              <a:gd name="connsiteX1" fmla="*/ 942975 w 978298"/>
              <a:gd name="connsiteY1" fmla="*/ 0 h 395288"/>
              <a:gd name="connsiteX2" fmla="*/ 781050 w 978298"/>
              <a:gd name="connsiteY2" fmla="*/ 257175 h 395288"/>
              <a:gd name="connsiteX3" fmla="*/ 809625 w 978298"/>
              <a:gd name="connsiteY3" fmla="*/ 395288 h 395288"/>
              <a:gd name="connsiteX4" fmla="*/ 700087 w 978298"/>
              <a:gd name="connsiteY4" fmla="*/ 395288 h 395288"/>
              <a:gd name="connsiteX5" fmla="*/ 700087 w 978298"/>
              <a:gd name="connsiteY5" fmla="*/ 257175 h 395288"/>
              <a:gd name="connsiteX6" fmla="*/ 600075 w 978298"/>
              <a:gd name="connsiteY6" fmla="*/ 242888 h 395288"/>
              <a:gd name="connsiteX7" fmla="*/ 342900 w 978298"/>
              <a:gd name="connsiteY7" fmla="*/ 142875 h 395288"/>
              <a:gd name="connsiteX8" fmla="*/ 0 w 978298"/>
              <a:gd name="connsiteY8" fmla="*/ 0 h 395288"/>
              <a:gd name="connsiteX0" fmla="*/ 0 w 983635"/>
              <a:gd name="connsiteY0" fmla="*/ 0 h 395288"/>
              <a:gd name="connsiteX1" fmla="*/ 942975 w 983635"/>
              <a:gd name="connsiteY1" fmla="*/ 0 h 395288"/>
              <a:gd name="connsiteX2" fmla="*/ 781050 w 983635"/>
              <a:gd name="connsiteY2" fmla="*/ 257175 h 395288"/>
              <a:gd name="connsiteX3" fmla="*/ 809625 w 983635"/>
              <a:gd name="connsiteY3" fmla="*/ 395288 h 395288"/>
              <a:gd name="connsiteX4" fmla="*/ 700087 w 983635"/>
              <a:gd name="connsiteY4" fmla="*/ 395288 h 395288"/>
              <a:gd name="connsiteX5" fmla="*/ 700087 w 983635"/>
              <a:gd name="connsiteY5" fmla="*/ 257175 h 395288"/>
              <a:gd name="connsiteX6" fmla="*/ 600075 w 983635"/>
              <a:gd name="connsiteY6" fmla="*/ 242888 h 395288"/>
              <a:gd name="connsiteX7" fmla="*/ 342900 w 983635"/>
              <a:gd name="connsiteY7" fmla="*/ 142875 h 395288"/>
              <a:gd name="connsiteX8" fmla="*/ 0 w 983635"/>
              <a:gd name="connsiteY8" fmla="*/ 0 h 395288"/>
              <a:gd name="connsiteX0" fmla="*/ 0 w 943838"/>
              <a:gd name="connsiteY0" fmla="*/ 0 h 395288"/>
              <a:gd name="connsiteX1" fmla="*/ 942975 w 943838"/>
              <a:gd name="connsiteY1" fmla="*/ 0 h 395288"/>
              <a:gd name="connsiteX2" fmla="*/ 781050 w 943838"/>
              <a:gd name="connsiteY2" fmla="*/ 257175 h 395288"/>
              <a:gd name="connsiteX3" fmla="*/ 809625 w 943838"/>
              <a:gd name="connsiteY3" fmla="*/ 395288 h 395288"/>
              <a:gd name="connsiteX4" fmla="*/ 700087 w 943838"/>
              <a:gd name="connsiteY4" fmla="*/ 395288 h 395288"/>
              <a:gd name="connsiteX5" fmla="*/ 700087 w 943838"/>
              <a:gd name="connsiteY5" fmla="*/ 257175 h 395288"/>
              <a:gd name="connsiteX6" fmla="*/ 600075 w 943838"/>
              <a:gd name="connsiteY6" fmla="*/ 242888 h 395288"/>
              <a:gd name="connsiteX7" fmla="*/ 342900 w 943838"/>
              <a:gd name="connsiteY7" fmla="*/ 142875 h 395288"/>
              <a:gd name="connsiteX8" fmla="*/ 0 w 943838"/>
              <a:gd name="connsiteY8" fmla="*/ 0 h 395288"/>
              <a:gd name="connsiteX0" fmla="*/ 0 w 943838"/>
              <a:gd name="connsiteY0" fmla="*/ 0 h 395288"/>
              <a:gd name="connsiteX1" fmla="*/ 942975 w 943838"/>
              <a:gd name="connsiteY1" fmla="*/ 0 h 395288"/>
              <a:gd name="connsiteX2" fmla="*/ 781050 w 943838"/>
              <a:gd name="connsiteY2" fmla="*/ 257175 h 395288"/>
              <a:gd name="connsiteX3" fmla="*/ 809625 w 943838"/>
              <a:gd name="connsiteY3" fmla="*/ 395288 h 395288"/>
              <a:gd name="connsiteX4" fmla="*/ 700087 w 943838"/>
              <a:gd name="connsiteY4" fmla="*/ 395288 h 395288"/>
              <a:gd name="connsiteX5" fmla="*/ 700087 w 943838"/>
              <a:gd name="connsiteY5" fmla="*/ 257175 h 395288"/>
              <a:gd name="connsiteX6" fmla="*/ 342900 w 943838"/>
              <a:gd name="connsiteY6" fmla="*/ 142875 h 395288"/>
              <a:gd name="connsiteX7" fmla="*/ 0 w 943838"/>
              <a:gd name="connsiteY7" fmla="*/ 0 h 395288"/>
              <a:gd name="connsiteX0" fmla="*/ 0 w 943838"/>
              <a:gd name="connsiteY0" fmla="*/ 0 h 395288"/>
              <a:gd name="connsiteX1" fmla="*/ 942975 w 943838"/>
              <a:gd name="connsiteY1" fmla="*/ 0 h 395288"/>
              <a:gd name="connsiteX2" fmla="*/ 781050 w 943838"/>
              <a:gd name="connsiteY2" fmla="*/ 257175 h 395288"/>
              <a:gd name="connsiteX3" fmla="*/ 809625 w 943838"/>
              <a:gd name="connsiteY3" fmla="*/ 395288 h 395288"/>
              <a:gd name="connsiteX4" fmla="*/ 700087 w 943838"/>
              <a:gd name="connsiteY4" fmla="*/ 395288 h 395288"/>
              <a:gd name="connsiteX5" fmla="*/ 700087 w 943838"/>
              <a:gd name="connsiteY5" fmla="*/ 257175 h 395288"/>
              <a:gd name="connsiteX6" fmla="*/ 342900 w 943838"/>
              <a:gd name="connsiteY6" fmla="*/ 142875 h 395288"/>
              <a:gd name="connsiteX7" fmla="*/ 0 w 943838"/>
              <a:gd name="connsiteY7" fmla="*/ 0 h 395288"/>
              <a:gd name="connsiteX0" fmla="*/ 0 w 943838"/>
              <a:gd name="connsiteY0" fmla="*/ 0 h 395288"/>
              <a:gd name="connsiteX1" fmla="*/ 942975 w 943838"/>
              <a:gd name="connsiteY1" fmla="*/ 0 h 395288"/>
              <a:gd name="connsiteX2" fmla="*/ 781050 w 943838"/>
              <a:gd name="connsiteY2" fmla="*/ 257175 h 395288"/>
              <a:gd name="connsiteX3" fmla="*/ 809625 w 943838"/>
              <a:gd name="connsiteY3" fmla="*/ 395288 h 395288"/>
              <a:gd name="connsiteX4" fmla="*/ 700087 w 943838"/>
              <a:gd name="connsiteY4" fmla="*/ 395288 h 395288"/>
              <a:gd name="connsiteX5" fmla="*/ 700087 w 943838"/>
              <a:gd name="connsiteY5" fmla="*/ 257175 h 395288"/>
              <a:gd name="connsiteX6" fmla="*/ 342900 w 943838"/>
              <a:gd name="connsiteY6" fmla="*/ 142875 h 395288"/>
              <a:gd name="connsiteX7" fmla="*/ 0 w 943838"/>
              <a:gd name="connsiteY7" fmla="*/ 0 h 395288"/>
              <a:gd name="connsiteX0" fmla="*/ 0 w 943838"/>
              <a:gd name="connsiteY0" fmla="*/ 0 h 395366"/>
              <a:gd name="connsiteX1" fmla="*/ 942975 w 943838"/>
              <a:gd name="connsiteY1" fmla="*/ 0 h 395366"/>
              <a:gd name="connsiteX2" fmla="*/ 781050 w 943838"/>
              <a:gd name="connsiteY2" fmla="*/ 257175 h 395366"/>
              <a:gd name="connsiteX3" fmla="*/ 809625 w 943838"/>
              <a:gd name="connsiteY3" fmla="*/ 395288 h 395366"/>
              <a:gd name="connsiteX4" fmla="*/ 734760 w 943838"/>
              <a:gd name="connsiteY4" fmla="*/ 395366 h 395366"/>
              <a:gd name="connsiteX5" fmla="*/ 700087 w 943838"/>
              <a:gd name="connsiteY5" fmla="*/ 395288 h 395366"/>
              <a:gd name="connsiteX6" fmla="*/ 700087 w 943838"/>
              <a:gd name="connsiteY6" fmla="*/ 257175 h 395366"/>
              <a:gd name="connsiteX7" fmla="*/ 342900 w 943838"/>
              <a:gd name="connsiteY7" fmla="*/ 142875 h 395366"/>
              <a:gd name="connsiteX8" fmla="*/ 0 w 943838"/>
              <a:gd name="connsiteY8" fmla="*/ 0 h 395366"/>
              <a:gd name="connsiteX0" fmla="*/ 0 w 943838"/>
              <a:gd name="connsiteY0" fmla="*/ 0 h 459344"/>
              <a:gd name="connsiteX1" fmla="*/ 942975 w 943838"/>
              <a:gd name="connsiteY1" fmla="*/ 0 h 459344"/>
              <a:gd name="connsiteX2" fmla="*/ 781050 w 943838"/>
              <a:gd name="connsiteY2" fmla="*/ 257175 h 459344"/>
              <a:gd name="connsiteX3" fmla="*/ 809625 w 943838"/>
              <a:gd name="connsiteY3" fmla="*/ 395288 h 459344"/>
              <a:gd name="connsiteX4" fmla="*/ 852334 w 943838"/>
              <a:gd name="connsiteY4" fmla="*/ 459344 h 459344"/>
              <a:gd name="connsiteX5" fmla="*/ 700087 w 943838"/>
              <a:gd name="connsiteY5" fmla="*/ 395288 h 459344"/>
              <a:gd name="connsiteX6" fmla="*/ 700087 w 943838"/>
              <a:gd name="connsiteY6" fmla="*/ 257175 h 459344"/>
              <a:gd name="connsiteX7" fmla="*/ 342900 w 943838"/>
              <a:gd name="connsiteY7" fmla="*/ 142875 h 459344"/>
              <a:gd name="connsiteX8" fmla="*/ 0 w 943838"/>
              <a:gd name="connsiteY8" fmla="*/ 0 h 459344"/>
              <a:gd name="connsiteX0" fmla="*/ 0 w 943838"/>
              <a:gd name="connsiteY0" fmla="*/ 0 h 459344"/>
              <a:gd name="connsiteX1" fmla="*/ 942975 w 943838"/>
              <a:gd name="connsiteY1" fmla="*/ 0 h 459344"/>
              <a:gd name="connsiteX2" fmla="*/ 781050 w 943838"/>
              <a:gd name="connsiteY2" fmla="*/ 257175 h 459344"/>
              <a:gd name="connsiteX3" fmla="*/ 809625 w 943838"/>
              <a:gd name="connsiteY3" fmla="*/ 395288 h 459344"/>
              <a:gd name="connsiteX4" fmla="*/ 820058 w 943838"/>
              <a:gd name="connsiteY4" fmla="*/ 415473 h 459344"/>
              <a:gd name="connsiteX5" fmla="*/ 852334 w 943838"/>
              <a:gd name="connsiteY5" fmla="*/ 459344 h 459344"/>
              <a:gd name="connsiteX6" fmla="*/ 700087 w 943838"/>
              <a:gd name="connsiteY6" fmla="*/ 395288 h 459344"/>
              <a:gd name="connsiteX7" fmla="*/ 700087 w 943838"/>
              <a:gd name="connsiteY7" fmla="*/ 257175 h 459344"/>
              <a:gd name="connsiteX8" fmla="*/ 342900 w 943838"/>
              <a:gd name="connsiteY8" fmla="*/ 142875 h 459344"/>
              <a:gd name="connsiteX9" fmla="*/ 0 w 943838"/>
              <a:gd name="connsiteY9" fmla="*/ 0 h 459344"/>
              <a:gd name="connsiteX0" fmla="*/ 0 w 943838"/>
              <a:gd name="connsiteY0" fmla="*/ 0 h 459344"/>
              <a:gd name="connsiteX1" fmla="*/ 942975 w 943838"/>
              <a:gd name="connsiteY1" fmla="*/ 0 h 459344"/>
              <a:gd name="connsiteX2" fmla="*/ 781050 w 943838"/>
              <a:gd name="connsiteY2" fmla="*/ 257175 h 459344"/>
              <a:gd name="connsiteX3" fmla="*/ 809625 w 943838"/>
              <a:gd name="connsiteY3" fmla="*/ 395288 h 459344"/>
              <a:gd name="connsiteX4" fmla="*/ 912273 w 943838"/>
              <a:gd name="connsiteY4" fmla="*/ 322249 h 459344"/>
              <a:gd name="connsiteX5" fmla="*/ 852334 w 943838"/>
              <a:gd name="connsiteY5" fmla="*/ 459344 h 459344"/>
              <a:gd name="connsiteX6" fmla="*/ 700087 w 943838"/>
              <a:gd name="connsiteY6" fmla="*/ 395288 h 459344"/>
              <a:gd name="connsiteX7" fmla="*/ 700087 w 943838"/>
              <a:gd name="connsiteY7" fmla="*/ 257175 h 459344"/>
              <a:gd name="connsiteX8" fmla="*/ 342900 w 943838"/>
              <a:gd name="connsiteY8" fmla="*/ 142875 h 459344"/>
              <a:gd name="connsiteX9" fmla="*/ 0 w 943838"/>
              <a:gd name="connsiteY9" fmla="*/ 0 h 459344"/>
              <a:gd name="connsiteX0" fmla="*/ 0 w 943838"/>
              <a:gd name="connsiteY0" fmla="*/ 0 h 459344"/>
              <a:gd name="connsiteX1" fmla="*/ 942975 w 943838"/>
              <a:gd name="connsiteY1" fmla="*/ 0 h 459344"/>
              <a:gd name="connsiteX2" fmla="*/ 781050 w 943838"/>
              <a:gd name="connsiteY2" fmla="*/ 257175 h 459344"/>
              <a:gd name="connsiteX3" fmla="*/ 809625 w 943838"/>
              <a:gd name="connsiteY3" fmla="*/ 395288 h 459344"/>
              <a:gd name="connsiteX4" fmla="*/ 833890 w 943838"/>
              <a:gd name="connsiteY4" fmla="*/ 373431 h 459344"/>
              <a:gd name="connsiteX5" fmla="*/ 912273 w 943838"/>
              <a:gd name="connsiteY5" fmla="*/ 322249 h 459344"/>
              <a:gd name="connsiteX6" fmla="*/ 852334 w 943838"/>
              <a:gd name="connsiteY6" fmla="*/ 459344 h 459344"/>
              <a:gd name="connsiteX7" fmla="*/ 700087 w 943838"/>
              <a:gd name="connsiteY7" fmla="*/ 395288 h 459344"/>
              <a:gd name="connsiteX8" fmla="*/ 700087 w 943838"/>
              <a:gd name="connsiteY8" fmla="*/ 257175 h 459344"/>
              <a:gd name="connsiteX9" fmla="*/ 342900 w 943838"/>
              <a:gd name="connsiteY9" fmla="*/ 142875 h 459344"/>
              <a:gd name="connsiteX10" fmla="*/ 0 w 943838"/>
              <a:gd name="connsiteY10" fmla="*/ 0 h 459344"/>
              <a:gd name="connsiteX0" fmla="*/ 0 w 943838"/>
              <a:gd name="connsiteY0" fmla="*/ 0 h 459344"/>
              <a:gd name="connsiteX1" fmla="*/ 942975 w 943838"/>
              <a:gd name="connsiteY1" fmla="*/ 0 h 459344"/>
              <a:gd name="connsiteX2" fmla="*/ 781050 w 943838"/>
              <a:gd name="connsiteY2" fmla="*/ 257175 h 459344"/>
              <a:gd name="connsiteX3" fmla="*/ 809625 w 943838"/>
              <a:gd name="connsiteY3" fmla="*/ 395288 h 459344"/>
              <a:gd name="connsiteX4" fmla="*/ 794699 w 943838"/>
              <a:gd name="connsiteY4" fmla="*/ 300313 h 459344"/>
              <a:gd name="connsiteX5" fmla="*/ 912273 w 943838"/>
              <a:gd name="connsiteY5" fmla="*/ 322249 h 459344"/>
              <a:gd name="connsiteX6" fmla="*/ 852334 w 943838"/>
              <a:gd name="connsiteY6" fmla="*/ 459344 h 459344"/>
              <a:gd name="connsiteX7" fmla="*/ 700087 w 943838"/>
              <a:gd name="connsiteY7" fmla="*/ 395288 h 459344"/>
              <a:gd name="connsiteX8" fmla="*/ 700087 w 943838"/>
              <a:gd name="connsiteY8" fmla="*/ 257175 h 459344"/>
              <a:gd name="connsiteX9" fmla="*/ 342900 w 943838"/>
              <a:gd name="connsiteY9" fmla="*/ 142875 h 459344"/>
              <a:gd name="connsiteX10" fmla="*/ 0 w 943838"/>
              <a:gd name="connsiteY10" fmla="*/ 0 h 459344"/>
              <a:gd name="connsiteX0" fmla="*/ 0 w 943838"/>
              <a:gd name="connsiteY0" fmla="*/ 0 h 459344"/>
              <a:gd name="connsiteX1" fmla="*/ 942975 w 943838"/>
              <a:gd name="connsiteY1" fmla="*/ 0 h 459344"/>
              <a:gd name="connsiteX2" fmla="*/ 781050 w 943838"/>
              <a:gd name="connsiteY2" fmla="*/ 257175 h 459344"/>
              <a:gd name="connsiteX3" fmla="*/ 809625 w 943838"/>
              <a:gd name="connsiteY3" fmla="*/ 395288 h 459344"/>
              <a:gd name="connsiteX4" fmla="*/ 794699 w 943838"/>
              <a:gd name="connsiteY4" fmla="*/ 300313 h 459344"/>
              <a:gd name="connsiteX5" fmla="*/ 866165 w 943838"/>
              <a:gd name="connsiteY5" fmla="*/ 316765 h 459344"/>
              <a:gd name="connsiteX6" fmla="*/ 912273 w 943838"/>
              <a:gd name="connsiteY6" fmla="*/ 322249 h 459344"/>
              <a:gd name="connsiteX7" fmla="*/ 852334 w 943838"/>
              <a:gd name="connsiteY7" fmla="*/ 459344 h 459344"/>
              <a:gd name="connsiteX8" fmla="*/ 700087 w 943838"/>
              <a:gd name="connsiteY8" fmla="*/ 395288 h 459344"/>
              <a:gd name="connsiteX9" fmla="*/ 700087 w 943838"/>
              <a:gd name="connsiteY9" fmla="*/ 257175 h 459344"/>
              <a:gd name="connsiteX10" fmla="*/ 342900 w 943838"/>
              <a:gd name="connsiteY10" fmla="*/ 142875 h 459344"/>
              <a:gd name="connsiteX11" fmla="*/ 0 w 943838"/>
              <a:gd name="connsiteY11" fmla="*/ 0 h 459344"/>
              <a:gd name="connsiteX0" fmla="*/ 0 w 983740"/>
              <a:gd name="connsiteY0" fmla="*/ 0 h 459344"/>
              <a:gd name="connsiteX1" fmla="*/ 942975 w 983740"/>
              <a:gd name="connsiteY1" fmla="*/ 0 h 459344"/>
              <a:gd name="connsiteX2" fmla="*/ 781050 w 983740"/>
              <a:gd name="connsiteY2" fmla="*/ 257175 h 459344"/>
              <a:gd name="connsiteX3" fmla="*/ 809625 w 983740"/>
              <a:gd name="connsiteY3" fmla="*/ 395288 h 459344"/>
              <a:gd name="connsiteX4" fmla="*/ 794699 w 983740"/>
              <a:gd name="connsiteY4" fmla="*/ 300313 h 459344"/>
              <a:gd name="connsiteX5" fmla="*/ 983740 w 983740"/>
              <a:gd name="connsiteY5" fmla="*/ 261927 h 459344"/>
              <a:gd name="connsiteX6" fmla="*/ 912273 w 983740"/>
              <a:gd name="connsiteY6" fmla="*/ 322249 h 459344"/>
              <a:gd name="connsiteX7" fmla="*/ 852334 w 983740"/>
              <a:gd name="connsiteY7" fmla="*/ 459344 h 459344"/>
              <a:gd name="connsiteX8" fmla="*/ 700087 w 983740"/>
              <a:gd name="connsiteY8" fmla="*/ 395288 h 459344"/>
              <a:gd name="connsiteX9" fmla="*/ 700087 w 983740"/>
              <a:gd name="connsiteY9" fmla="*/ 257175 h 459344"/>
              <a:gd name="connsiteX10" fmla="*/ 342900 w 983740"/>
              <a:gd name="connsiteY10" fmla="*/ 142875 h 459344"/>
              <a:gd name="connsiteX11" fmla="*/ 0 w 983740"/>
              <a:gd name="connsiteY11" fmla="*/ 0 h 459344"/>
              <a:gd name="connsiteX0" fmla="*/ 0 w 983740"/>
              <a:gd name="connsiteY0" fmla="*/ 0 h 459344"/>
              <a:gd name="connsiteX1" fmla="*/ 942975 w 983740"/>
              <a:gd name="connsiteY1" fmla="*/ 0 h 459344"/>
              <a:gd name="connsiteX2" fmla="*/ 781050 w 983740"/>
              <a:gd name="connsiteY2" fmla="*/ 257175 h 459344"/>
              <a:gd name="connsiteX3" fmla="*/ 809625 w 983740"/>
              <a:gd name="connsiteY3" fmla="*/ 395288 h 459344"/>
              <a:gd name="connsiteX4" fmla="*/ 794699 w 983740"/>
              <a:gd name="connsiteY4" fmla="*/ 300313 h 459344"/>
              <a:gd name="connsiteX5" fmla="*/ 983740 w 983740"/>
              <a:gd name="connsiteY5" fmla="*/ 261927 h 459344"/>
              <a:gd name="connsiteX6" fmla="*/ 976823 w 983740"/>
              <a:gd name="connsiteY6" fmla="*/ 258270 h 459344"/>
              <a:gd name="connsiteX7" fmla="*/ 912273 w 983740"/>
              <a:gd name="connsiteY7" fmla="*/ 322249 h 459344"/>
              <a:gd name="connsiteX8" fmla="*/ 852334 w 983740"/>
              <a:gd name="connsiteY8" fmla="*/ 459344 h 459344"/>
              <a:gd name="connsiteX9" fmla="*/ 700087 w 983740"/>
              <a:gd name="connsiteY9" fmla="*/ 395288 h 459344"/>
              <a:gd name="connsiteX10" fmla="*/ 700087 w 983740"/>
              <a:gd name="connsiteY10" fmla="*/ 257175 h 459344"/>
              <a:gd name="connsiteX11" fmla="*/ 342900 w 983740"/>
              <a:gd name="connsiteY11" fmla="*/ 142875 h 459344"/>
              <a:gd name="connsiteX12" fmla="*/ 0 w 983740"/>
              <a:gd name="connsiteY12" fmla="*/ 0 h 459344"/>
              <a:gd name="connsiteX0" fmla="*/ 0 w 1036763"/>
              <a:gd name="connsiteY0" fmla="*/ 0 h 459344"/>
              <a:gd name="connsiteX1" fmla="*/ 942975 w 1036763"/>
              <a:gd name="connsiteY1" fmla="*/ 0 h 459344"/>
              <a:gd name="connsiteX2" fmla="*/ 781050 w 1036763"/>
              <a:gd name="connsiteY2" fmla="*/ 257175 h 459344"/>
              <a:gd name="connsiteX3" fmla="*/ 809625 w 1036763"/>
              <a:gd name="connsiteY3" fmla="*/ 395288 h 459344"/>
              <a:gd name="connsiteX4" fmla="*/ 794699 w 1036763"/>
              <a:gd name="connsiteY4" fmla="*/ 300313 h 459344"/>
              <a:gd name="connsiteX5" fmla="*/ 983740 w 1036763"/>
              <a:gd name="connsiteY5" fmla="*/ 261927 h 459344"/>
              <a:gd name="connsiteX6" fmla="*/ 1036763 w 1036763"/>
              <a:gd name="connsiteY6" fmla="*/ 388054 h 459344"/>
              <a:gd name="connsiteX7" fmla="*/ 912273 w 1036763"/>
              <a:gd name="connsiteY7" fmla="*/ 322249 h 459344"/>
              <a:gd name="connsiteX8" fmla="*/ 852334 w 1036763"/>
              <a:gd name="connsiteY8" fmla="*/ 459344 h 459344"/>
              <a:gd name="connsiteX9" fmla="*/ 700087 w 1036763"/>
              <a:gd name="connsiteY9" fmla="*/ 395288 h 459344"/>
              <a:gd name="connsiteX10" fmla="*/ 700087 w 1036763"/>
              <a:gd name="connsiteY10" fmla="*/ 257175 h 459344"/>
              <a:gd name="connsiteX11" fmla="*/ 342900 w 1036763"/>
              <a:gd name="connsiteY11" fmla="*/ 142875 h 459344"/>
              <a:gd name="connsiteX12" fmla="*/ 0 w 1036763"/>
              <a:gd name="connsiteY12" fmla="*/ 0 h 459344"/>
              <a:gd name="connsiteX0" fmla="*/ 0 w 1036763"/>
              <a:gd name="connsiteY0" fmla="*/ 0 h 459344"/>
              <a:gd name="connsiteX1" fmla="*/ 942975 w 1036763"/>
              <a:gd name="connsiteY1" fmla="*/ 0 h 459344"/>
              <a:gd name="connsiteX2" fmla="*/ 781050 w 1036763"/>
              <a:gd name="connsiteY2" fmla="*/ 257175 h 459344"/>
              <a:gd name="connsiteX3" fmla="*/ 809625 w 1036763"/>
              <a:gd name="connsiteY3" fmla="*/ 395288 h 459344"/>
              <a:gd name="connsiteX4" fmla="*/ 794699 w 1036763"/>
              <a:gd name="connsiteY4" fmla="*/ 300313 h 459344"/>
              <a:gd name="connsiteX5" fmla="*/ 983740 w 1036763"/>
              <a:gd name="connsiteY5" fmla="*/ 261927 h 459344"/>
              <a:gd name="connsiteX6" fmla="*/ 1036763 w 1036763"/>
              <a:gd name="connsiteY6" fmla="*/ 388054 h 459344"/>
              <a:gd name="connsiteX7" fmla="*/ 958380 w 1036763"/>
              <a:gd name="connsiteY7" fmla="*/ 342356 h 459344"/>
              <a:gd name="connsiteX8" fmla="*/ 912273 w 1036763"/>
              <a:gd name="connsiteY8" fmla="*/ 322249 h 459344"/>
              <a:gd name="connsiteX9" fmla="*/ 852334 w 1036763"/>
              <a:gd name="connsiteY9" fmla="*/ 459344 h 459344"/>
              <a:gd name="connsiteX10" fmla="*/ 700087 w 1036763"/>
              <a:gd name="connsiteY10" fmla="*/ 395288 h 459344"/>
              <a:gd name="connsiteX11" fmla="*/ 700087 w 1036763"/>
              <a:gd name="connsiteY11" fmla="*/ 257175 h 459344"/>
              <a:gd name="connsiteX12" fmla="*/ 342900 w 1036763"/>
              <a:gd name="connsiteY12" fmla="*/ 142875 h 459344"/>
              <a:gd name="connsiteX13" fmla="*/ 0 w 1036763"/>
              <a:gd name="connsiteY13" fmla="*/ 0 h 459344"/>
              <a:gd name="connsiteX0" fmla="*/ 0 w 1036763"/>
              <a:gd name="connsiteY0" fmla="*/ 0 h 459344"/>
              <a:gd name="connsiteX1" fmla="*/ 942975 w 1036763"/>
              <a:gd name="connsiteY1" fmla="*/ 0 h 459344"/>
              <a:gd name="connsiteX2" fmla="*/ 781050 w 1036763"/>
              <a:gd name="connsiteY2" fmla="*/ 257175 h 459344"/>
              <a:gd name="connsiteX3" fmla="*/ 809625 w 1036763"/>
              <a:gd name="connsiteY3" fmla="*/ 395288 h 459344"/>
              <a:gd name="connsiteX4" fmla="*/ 794699 w 1036763"/>
              <a:gd name="connsiteY4" fmla="*/ 300313 h 459344"/>
              <a:gd name="connsiteX5" fmla="*/ 983740 w 1036763"/>
              <a:gd name="connsiteY5" fmla="*/ 261927 h 459344"/>
              <a:gd name="connsiteX6" fmla="*/ 1036763 w 1036763"/>
              <a:gd name="connsiteY6" fmla="*/ 388054 h 459344"/>
              <a:gd name="connsiteX7" fmla="*/ 919188 w 1036763"/>
              <a:gd name="connsiteY7" fmla="*/ 391710 h 459344"/>
              <a:gd name="connsiteX8" fmla="*/ 912273 w 1036763"/>
              <a:gd name="connsiteY8" fmla="*/ 322249 h 459344"/>
              <a:gd name="connsiteX9" fmla="*/ 852334 w 1036763"/>
              <a:gd name="connsiteY9" fmla="*/ 459344 h 459344"/>
              <a:gd name="connsiteX10" fmla="*/ 700087 w 1036763"/>
              <a:gd name="connsiteY10" fmla="*/ 395288 h 459344"/>
              <a:gd name="connsiteX11" fmla="*/ 700087 w 1036763"/>
              <a:gd name="connsiteY11" fmla="*/ 257175 h 459344"/>
              <a:gd name="connsiteX12" fmla="*/ 342900 w 1036763"/>
              <a:gd name="connsiteY12" fmla="*/ 142875 h 459344"/>
              <a:gd name="connsiteX13" fmla="*/ 0 w 1036763"/>
              <a:gd name="connsiteY13" fmla="*/ 0 h 459344"/>
              <a:gd name="connsiteX0" fmla="*/ 0 w 1002182"/>
              <a:gd name="connsiteY0" fmla="*/ 0 h 459344"/>
              <a:gd name="connsiteX1" fmla="*/ 942975 w 1002182"/>
              <a:gd name="connsiteY1" fmla="*/ 0 h 459344"/>
              <a:gd name="connsiteX2" fmla="*/ 781050 w 1002182"/>
              <a:gd name="connsiteY2" fmla="*/ 257175 h 459344"/>
              <a:gd name="connsiteX3" fmla="*/ 809625 w 1002182"/>
              <a:gd name="connsiteY3" fmla="*/ 395288 h 459344"/>
              <a:gd name="connsiteX4" fmla="*/ 794699 w 1002182"/>
              <a:gd name="connsiteY4" fmla="*/ 300313 h 459344"/>
              <a:gd name="connsiteX5" fmla="*/ 983740 w 1002182"/>
              <a:gd name="connsiteY5" fmla="*/ 261927 h 459344"/>
              <a:gd name="connsiteX6" fmla="*/ 1002182 w 1002182"/>
              <a:gd name="connsiteY6" fmla="*/ 400849 h 459344"/>
              <a:gd name="connsiteX7" fmla="*/ 919188 w 1002182"/>
              <a:gd name="connsiteY7" fmla="*/ 391710 h 459344"/>
              <a:gd name="connsiteX8" fmla="*/ 912273 w 1002182"/>
              <a:gd name="connsiteY8" fmla="*/ 322249 h 459344"/>
              <a:gd name="connsiteX9" fmla="*/ 852334 w 1002182"/>
              <a:gd name="connsiteY9" fmla="*/ 459344 h 459344"/>
              <a:gd name="connsiteX10" fmla="*/ 700087 w 1002182"/>
              <a:gd name="connsiteY10" fmla="*/ 395288 h 459344"/>
              <a:gd name="connsiteX11" fmla="*/ 700087 w 1002182"/>
              <a:gd name="connsiteY11" fmla="*/ 257175 h 459344"/>
              <a:gd name="connsiteX12" fmla="*/ 342900 w 1002182"/>
              <a:gd name="connsiteY12" fmla="*/ 142875 h 459344"/>
              <a:gd name="connsiteX13" fmla="*/ 0 w 1002182"/>
              <a:gd name="connsiteY13" fmla="*/ 0 h 459344"/>
              <a:gd name="connsiteX0" fmla="*/ 0 w 1002182"/>
              <a:gd name="connsiteY0" fmla="*/ 0 h 400849"/>
              <a:gd name="connsiteX1" fmla="*/ 942975 w 1002182"/>
              <a:gd name="connsiteY1" fmla="*/ 0 h 400849"/>
              <a:gd name="connsiteX2" fmla="*/ 781050 w 1002182"/>
              <a:gd name="connsiteY2" fmla="*/ 257175 h 400849"/>
              <a:gd name="connsiteX3" fmla="*/ 809625 w 1002182"/>
              <a:gd name="connsiteY3" fmla="*/ 395288 h 400849"/>
              <a:gd name="connsiteX4" fmla="*/ 794699 w 1002182"/>
              <a:gd name="connsiteY4" fmla="*/ 300313 h 400849"/>
              <a:gd name="connsiteX5" fmla="*/ 983740 w 1002182"/>
              <a:gd name="connsiteY5" fmla="*/ 261927 h 400849"/>
              <a:gd name="connsiteX6" fmla="*/ 1002182 w 1002182"/>
              <a:gd name="connsiteY6" fmla="*/ 400849 h 400849"/>
              <a:gd name="connsiteX7" fmla="*/ 919188 w 1002182"/>
              <a:gd name="connsiteY7" fmla="*/ 391710 h 400849"/>
              <a:gd name="connsiteX8" fmla="*/ 912273 w 1002182"/>
              <a:gd name="connsiteY8" fmla="*/ 322249 h 400849"/>
              <a:gd name="connsiteX9" fmla="*/ 700087 w 1002182"/>
              <a:gd name="connsiteY9" fmla="*/ 395288 h 400849"/>
              <a:gd name="connsiteX10" fmla="*/ 700087 w 1002182"/>
              <a:gd name="connsiteY10" fmla="*/ 257175 h 400849"/>
              <a:gd name="connsiteX11" fmla="*/ 342900 w 1002182"/>
              <a:gd name="connsiteY11" fmla="*/ 142875 h 400849"/>
              <a:gd name="connsiteX12" fmla="*/ 0 w 1002182"/>
              <a:gd name="connsiteY12" fmla="*/ 0 h 400849"/>
              <a:gd name="connsiteX0" fmla="*/ 0 w 1002182"/>
              <a:gd name="connsiteY0" fmla="*/ 0 h 400849"/>
              <a:gd name="connsiteX1" fmla="*/ 942975 w 1002182"/>
              <a:gd name="connsiteY1" fmla="*/ 0 h 400849"/>
              <a:gd name="connsiteX2" fmla="*/ 781050 w 1002182"/>
              <a:gd name="connsiteY2" fmla="*/ 257175 h 400849"/>
              <a:gd name="connsiteX3" fmla="*/ 809625 w 1002182"/>
              <a:gd name="connsiteY3" fmla="*/ 395288 h 400849"/>
              <a:gd name="connsiteX4" fmla="*/ 794699 w 1002182"/>
              <a:gd name="connsiteY4" fmla="*/ 300313 h 400849"/>
              <a:gd name="connsiteX5" fmla="*/ 983740 w 1002182"/>
              <a:gd name="connsiteY5" fmla="*/ 261927 h 400849"/>
              <a:gd name="connsiteX6" fmla="*/ 1002182 w 1002182"/>
              <a:gd name="connsiteY6" fmla="*/ 400849 h 400849"/>
              <a:gd name="connsiteX7" fmla="*/ 919188 w 1002182"/>
              <a:gd name="connsiteY7" fmla="*/ 391710 h 400849"/>
              <a:gd name="connsiteX8" fmla="*/ 912273 w 1002182"/>
              <a:gd name="connsiteY8" fmla="*/ 322249 h 400849"/>
              <a:gd name="connsiteX9" fmla="*/ 700087 w 1002182"/>
              <a:gd name="connsiteY9" fmla="*/ 395288 h 400849"/>
              <a:gd name="connsiteX10" fmla="*/ 700087 w 1002182"/>
              <a:gd name="connsiteY10" fmla="*/ 257175 h 400849"/>
              <a:gd name="connsiteX11" fmla="*/ 342900 w 1002182"/>
              <a:gd name="connsiteY11" fmla="*/ 142875 h 400849"/>
              <a:gd name="connsiteX12" fmla="*/ 0 w 1002182"/>
              <a:gd name="connsiteY12" fmla="*/ 0 h 400849"/>
              <a:gd name="connsiteX0" fmla="*/ 0 w 1002182"/>
              <a:gd name="connsiteY0" fmla="*/ 0 h 447919"/>
              <a:gd name="connsiteX1" fmla="*/ 942975 w 1002182"/>
              <a:gd name="connsiteY1" fmla="*/ 0 h 447919"/>
              <a:gd name="connsiteX2" fmla="*/ 781050 w 1002182"/>
              <a:gd name="connsiteY2" fmla="*/ 257175 h 447919"/>
              <a:gd name="connsiteX3" fmla="*/ 809625 w 1002182"/>
              <a:gd name="connsiteY3" fmla="*/ 395288 h 447919"/>
              <a:gd name="connsiteX4" fmla="*/ 794699 w 1002182"/>
              <a:gd name="connsiteY4" fmla="*/ 300313 h 447919"/>
              <a:gd name="connsiteX5" fmla="*/ 983740 w 1002182"/>
              <a:gd name="connsiteY5" fmla="*/ 261927 h 447919"/>
              <a:gd name="connsiteX6" fmla="*/ 1002182 w 1002182"/>
              <a:gd name="connsiteY6" fmla="*/ 400849 h 447919"/>
              <a:gd name="connsiteX7" fmla="*/ 919188 w 1002182"/>
              <a:gd name="connsiteY7" fmla="*/ 391710 h 447919"/>
              <a:gd name="connsiteX8" fmla="*/ 912273 w 1002182"/>
              <a:gd name="connsiteY8" fmla="*/ 322249 h 447919"/>
              <a:gd name="connsiteX9" fmla="*/ 700087 w 1002182"/>
              <a:gd name="connsiteY9" fmla="*/ 395288 h 447919"/>
              <a:gd name="connsiteX10" fmla="*/ 700087 w 1002182"/>
              <a:gd name="connsiteY10" fmla="*/ 257175 h 447919"/>
              <a:gd name="connsiteX11" fmla="*/ 342900 w 1002182"/>
              <a:gd name="connsiteY11" fmla="*/ 142875 h 447919"/>
              <a:gd name="connsiteX12" fmla="*/ 0 w 1002182"/>
              <a:gd name="connsiteY12" fmla="*/ 0 h 447919"/>
              <a:gd name="connsiteX0" fmla="*/ 0 w 1002182"/>
              <a:gd name="connsiteY0" fmla="*/ 0 h 447919"/>
              <a:gd name="connsiteX1" fmla="*/ 942975 w 1002182"/>
              <a:gd name="connsiteY1" fmla="*/ 0 h 447919"/>
              <a:gd name="connsiteX2" fmla="*/ 781050 w 1002182"/>
              <a:gd name="connsiteY2" fmla="*/ 257175 h 447919"/>
              <a:gd name="connsiteX3" fmla="*/ 786570 w 1002182"/>
              <a:gd name="connsiteY3" fmla="*/ 389805 h 447919"/>
              <a:gd name="connsiteX4" fmla="*/ 794699 w 1002182"/>
              <a:gd name="connsiteY4" fmla="*/ 300313 h 447919"/>
              <a:gd name="connsiteX5" fmla="*/ 983740 w 1002182"/>
              <a:gd name="connsiteY5" fmla="*/ 261927 h 447919"/>
              <a:gd name="connsiteX6" fmla="*/ 1002182 w 1002182"/>
              <a:gd name="connsiteY6" fmla="*/ 400849 h 447919"/>
              <a:gd name="connsiteX7" fmla="*/ 919188 w 1002182"/>
              <a:gd name="connsiteY7" fmla="*/ 391710 h 447919"/>
              <a:gd name="connsiteX8" fmla="*/ 912273 w 1002182"/>
              <a:gd name="connsiteY8" fmla="*/ 322249 h 447919"/>
              <a:gd name="connsiteX9" fmla="*/ 700087 w 1002182"/>
              <a:gd name="connsiteY9" fmla="*/ 395288 h 447919"/>
              <a:gd name="connsiteX10" fmla="*/ 700087 w 1002182"/>
              <a:gd name="connsiteY10" fmla="*/ 257175 h 447919"/>
              <a:gd name="connsiteX11" fmla="*/ 342900 w 1002182"/>
              <a:gd name="connsiteY11" fmla="*/ 142875 h 447919"/>
              <a:gd name="connsiteX12" fmla="*/ 0 w 1002182"/>
              <a:gd name="connsiteY12" fmla="*/ 0 h 447919"/>
              <a:gd name="connsiteX0" fmla="*/ 0 w 1002182"/>
              <a:gd name="connsiteY0" fmla="*/ 0 h 447919"/>
              <a:gd name="connsiteX1" fmla="*/ 942975 w 1002182"/>
              <a:gd name="connsiteY1" fmla="*/ 0 h 447919"/>
              <a:gd name="connsiteX2" fmla="*/ 781050 w 1002182"/>
              <a:gd name="connsiteY2" fmla="*/ 257175 h 447919"/>
              <a:gd name="connsiteX3" fmla="*/ 786570 w 1002182"/>
              <a:gd name="connsiteY3" fmla="*/ 389805 h 447919"/>
              <a:gd name="connsiteX4" fmla="*/ 785477 w 1002182"/>
              <a:gd name="connsiteY4" fmla="*/ 293001 h 447919"/>
              <a:gd name="connsiteX5" fmla="*/ 983740 w 1002182"/>
              <a:gd name="connsiteY5" fmla="*/ 261927 h 447919"/>
              <a:gd name="connsiteX6" fmla="*/ 1002182 w 1002182"/>
              <a:gd name="connsiteY6" fmla="*/ 400849 h 447919"/>
              <a:gd name="connsiteX7" fmla="*/ 919188 w 1002182"/>
              <a:gd name="connsiteY7" fmla="*/ 391710 h 447919"/>
              <a:gd name="connsiteX8" fmla="*/ 912273 w 1002182"/>
              <a:gd name="connsiteY8" fmla="*/ 322249 h 447919"/>
              <a:gd name="connsiteX9" fmla="*/ 700087 w 1002182"/>
              <a:gd name="connsiteY9" fmla="*/ 395288 h 447919"/>
              <a:gd name="connsiteX10" fmla="*/ 700087 w 1002182"/>
              <a:gd name="connsiteY10" fmla="*/ 257175 h 447919"/>
              <a:gd name="connsiteX11" fmla="*/ 342900 w 1002182"/>
              <a:gd name="connsiteY11" fmla="*/ 142875 h 447919"/>
              <a:gd name="connsiteX12" fmla="*/ 0 w 1002182"/>
              <a:gd name="connsiteY12" fmla="*/ 0 h 447919"/>
              <a:gd name="connsiteX0" fmla="*/ 0 w 1002182"/>
              <a:gd name="connsiteY0" fmla="*/ 0 h 449416"/>
              <a:gd name="connsiteX1" fmla="*/ 942975 w 1002182"/>
              <a:gd name="connsiteY1" fmla="*/ 0 h 449416"/>
              <a:gd name="connsiteX2" fmla="*/ 781050 w 1002182"/>
              <a:gd name="connsiteY2" fmla="*/ 257175 h 449416"/>
              <a:gd name="connsiteX3" fmla="*/ 786570 w 1002182"/>
              <a:gd name="connsiteY3" fmla="*/ 389805 h 449416"/>
              <a:gd name="connsiteX4" fmla="*/ 785477 w 1002182"/>
              <a:gd name="connsiteY4" fmla="*/ 293001 h 449416"/>
              <a:gd name="connsiteX5" fmla="*/ 983740 w 1002182"/>
              <a:gd name="connsiteY5" fmla="*/ 261927 h 449416"/>
              <a:gd name="connsiteX6" fmla="*/ 1002182 w 1002182"/>
              <a:gd name="connsiteY6" fmla="*/ 400849 h 449416"/>
              <a:gd name="connsiteX7" fmla="*/ 919188 w 1002182"/>
              <a:gd name="connsiteY7" fmla="*/ 391710 h 449416"/>
              <a:gd name="connsiteX8" fmla="*/ 879997 w 1002182"/>
              <a:gd name="connsiteY8" fmla="*/ 331389 h 449416"/>
              <a:gd name="connsiteX9" fmla="*/ 700087 w 1002182"/>
              <a:gd name="connsiteY9" fmla="*/ 395288 h 449416"/>
              <a:gd name="connsiteX10" fmla="*/ 700087 w 1002182"/>
              <a:gd name="connsiteY10" fmla="*/ 257175 h 449416"/>
              <a:gd name="connsiteX11" fmla="*/ 342900 w 1002182"/>
              <a:gd name="connsiteY11" fmla="*/ 142875 h 449416"/>
              <a:gd name="connsiteX12" fmla="*/ 0 w 1002182"/>
              <a:gd name="connsiteY12" fmla="*/ 0 h 449416"/>
              <a:gd name="connsiteX0" fmla="*/ 0 w 1002182"/>
              <a:gd name="connsiteY0" fmla="*/ 0 h 449416"/>
              <a:gd name="connsiteX1" fmla="*/ 942975 w 1002182"/>
              <a:gd name="connsiteY1" fmla="*/ 0 h 449416"/>
              <a:gd name="connsiteX2" fmla="*/ 781050 w 1002182"/>
              <a:gd name="connsiteY2" fmla="*/ 257175 h 449416"/>
              <a:gd name="connsiteX3" fmla="*/ 786570 w 1002182"/>
              <a:gd name="connsiteY3" fmla="*/ 389805 h 449416"/>
              <a:gd name="connsiteX4" fmla="*/ 785477 w 1002182"/>
              <a:gd name="connsiteY4" fmla="*/ 293001 h 449416"/>
              <a:gd name="connsiteX5" fmla="*/ 983740 w 1002182"/>
              <a:gd name="connsiteY5" fmla="*/ 261927 h 449416"/>
              <a:gd name="connsiteX6" fmla="*/ 1002182 w 1002182"/>
              <a:gd name="connsiteY6" fmla="*/ 400849 h 449416"/>
              <a:gd name="connsiteX7" fmla="*/ 919188 w 1002182"/>
              <a:gd name="connsiteY7" fmla="*/ 391710 h 449416"/>
              <a:gd name="connsiteX8" fmla="*/ 879997 w 1002182"/>
              <a:gd name="connsiteY8" fmla="*/ 331389 h 449416"/>
              <a:gd name="connsiteX9" fmla="*/ 700087 w 1002182"/>
              <a:gd name="connsiteY9" fmla="*/ 395288 h 449416"/>
              <a:gd name="connsiteX10" fmla="*/ 700087 w 1002182"/>
              <a:gd name="connsiteY10" fmla="*/ 257175 h 449416"/>
              <a:gd name="connsiteX11" fmla="*/ 342900 w 1002182"/>
              <a:gd name="connsiteY11" fmla="*/ 142875 h 449416"/>
              <a:gd name="connsiteX12" fmla="*/ 0 w 1002182"/>
              <a:gd name="connsiteY12" fmla="*/ 0 h 449416"/>
              <a:gd name="connsiteX0" fmla="*/ 0 w 1002182"/>
              <a:gd name="connsiteY0" fmla="*/ 0 h 460650"/>
              <a:gd name="connsiteX1" fmla="*/ 942975 w 1002182"/>
              <a:gd name="connsiteY1" fmla="*/ 0 h 460650"/>
              <a:gd name="connsiteX2" fmla="*/ 781050 w 1002182"/>
              <a:gd name="connsiteY2" fmla="*/ 257175 h 460650"/>
              <a:gd name="connsiteX3" fmla="*/ 786570 w 1002182"/>
              <a:gd name="connsiteY3" fmla="*/ 389805 h 460650"/>
              <a:gd name="connsiteX4" fmla="*/ 785477 w 1002182"/>
              <a:gd name="connsiteY4" fmla="*/ 293001 h 460650"/>
              <a:gd name="connsiteX5" fmla="*/ 983740 w 1002182"/>
              <a:gd name="connsiteY5" fmla="*/ 261927 h 460650"/>
              <a:gd name="connsiteX6" fmla="*/ 1002182 w 1002182"/>
              <a:gd name="connsiteY6" fmla="*/ 400849 h 460650"/>
              <a:gd name="connsiteX7" fmla="*/ 919188 w 1002182"/>
              <a:gd name="connsiteY7" fmla="*/ 391710 h 460650"/>
              <a:gd name="connsiteX8" fmla="*/ 879997 w 1002182"/>
              <a:gd name="connsiteY8" fmla="*/ 331389 h 460650"/>
              <a:gd name="connsiteX9" fmla="*/ 700087 w 1002182"/>
              <a:gd name="connsiteY9" fmla="*/ 395288 h 460650"/>
              <a:gd name="connsiteX10" fmla="*/ 700087 w 1002182"/>
              <a:gd name="connsiteY10" fmla="*/ 257175 h 460650"/>
              <a:gd name="connsiteX11" fmla="*/ 342900 w 1002182"/>
              <a:gd name="connsiteY11" fmla="*/ 142875 h 460650"/>
              <a:gd name="connsiteX12" fmla="*/ 0 w 1002182"/>
              <a:gd name="connsiteY12" fmla="*/ 0 h 460650"/>
              <a:gd name="connsiteX0" fmla="*/ 0 w 1002182"/>
              <a:gd name="connsiteY0" fmla="*/ 0 h 452593"/>
              <a:gd name="connsiteX1" fmla="*/ 942975 w 1002182"/>
              <a:gd name="connsiteY1" fmla="*/ 0 h 452593"/>
              <a:gd name="connsiteX2" fmla="*/ 781050 w 1002182"/>
              <a:gd name="connsiteY2" fmla="*/ 257175 h 452593"/>
              <a:gd name="connsiteX3" fmla="*/ 786570 w 1002182"/>
              <a:gd name="connsiteY3" fmla="*/ 389805 h 452593"/>
              <a:gd name="connsiteX4" fmla="*/ 785477 w 1002182"/>
              <a:gd name="connsiteY4" fmla="*/ 293001 h 452593"/>
              <a:gd name="connsiteX5" fmla="*/ 983740 w 1002182"/>
              <a:gd name="connsiteY5" fmla="*/ 261927 h 452593"/>
              <a:gd name="connsiteX6" fmla="*/ 1002182 w 1002182"/>
              <a:gd name="connsiteY6" fmla="*/ 400849 h 452593"/>
              <a:gd name="connsiteX7" fmla="*/ 919188 w 1002182"/>
              <a:gd name="connsiteY7" fmla="*/ 391710 h 452593"/>
              <a:gd name="connsiteX8" fmla="*/ 879997 w 1002182"/>
              <a:gd name="connsiteY8" fmla="*/ 331389 h 452593"/>
              <a:gd name="connsiteX9" fmla="*/ 700087 w 1002182"/>
              <a:gd name="connsiteY9" fmla="*/ 395288 h 452593"/>
              <a:gd name="connsiteX10" fmla="*/ 700087 w 1002182"/>
              <a:gd name="connsiteY10" fmla="*/ 257175 h 452593"/>
              <a:gd name="connsiteX11" fmla="*/ 342900 w 1002182"/>
              <a:gd name="connsiteY11" fmla="*/ 142875 h 452593"/>
              <a:gd name="connsiteX12" fmla="*/ 0 w 1002182"/>
              <a:gd name="connsiteY12" fmla="*/ 0 h 452593"/>
              <a:gd name="connsiteX0" fmla="*/ 0 w 1002182"/>
              <a:gd name="connsiteY0" fmla="*/ 0 h 434476"/>
              <a:gd name="connsiteX1" fmla="*/ 942975 w 1002182"/>
              <a:gd name="connsiteY1" fmla="*/ 0 h 434476"/>
              <a:gd name="connsiteX2" fmla="*/ 781050 w 1002182"/>
              <a:gd name="connsiteY2" fmla="*/ 257175 h 434476"/>
              <a:gd name="connsiteX3" fmla="*/ 786570 w 1002182"/>
              <a:gd name="connsiteY3" fmla="*/ 389805 h 434476"/>
              <a:gd name="connsiteX4" fmla="*/ 785477 w 1002182"/>
              <a:gd name="connsiteY4" fmla="*/ 293001 h 434476"/>
              <a:gd name="connsiteX5" fmla="*/ 983740 w 1002182"/>
              <a:gd name="connsiteY5" fmla="*/ 261927 h 434476"/>
              <a:gd name="connsiteX6" fmla="*/ 1002182 w 1002182"/>
              <a:gd name="connsiteY6" fmla="*/ 400849 h 434476"/>
              <a:gd name="connsiteX7" fmla="*/ 919188 w 1002182"/>
              <a:gd name="connsiteY7" fmla="*/ 391710 h 434476"/>
              <a:gd name="connsiteX8" fmla="*/ 879997 w 1002182"/>
              <a:gd name="connsiteY8" fmla="*/ 331389 h 434476"/>
              <a:gd name="connsiteX9" fmla="*/ 700087 w 1002182"/>
              <a:gd name="connsiteY9" fmla="*/ 395288 h 434476"/>
              <a:gd name="connsiteX10" fmla="*/ 700087 w 1002182"/>
              <a:gd name="connsiteY10" fmla="*/ 257175 h 434476"/>
              <a:gd name="connsiteX11" fmla="*/ 342900 w 1002182"/>
              <a:gd name="connsiteY11" fmla="*/ 142875 h 434476"/>
              <a:gd name="connsiteX12" fmla="*/ 0 w 1002182"/>
              <a:gd name="connsiteY12" fmla="*/ 0 h 434476"/>
              <a:gd name="connsiteX0" fmla="*/ 0 w 1002182"/>
              <a:gd name="connsiteY0" fmla="*/ 0 h 436062"/>
              <a:gd name="connsiteX1" fmla="*/ 942975 w 1002182"/>
              <a:gd name="connsiteY1" fmla="*/ 0 h 436062"/>
              <a:gd name="connsiteX2" fmla="*/ 781050 w 1002182"/>
              <a:gd name="connsiteY2" fmla="*/ 257175 h 436062"/>
              <a:gd name="connsiteX3" fmla="*/ 786570 w 1002182"/>
              <a:gd name="connsiteY3" fmla="*/ 389805 h 436062"/>
              <a:gd name="connsiteX4" fmla="*/ 785477 w 1002182"/>
              <a:gd name="connsiteY4" fmla="*/ 293001 h 436062"/>
              <a:gd name="connsiteX5" fmla="*/ 983740 w 1002182"/>
              <a:gd name="connsiteY5" fmla="*/ 261927 h 436062"/>
              <a:gd name="connsiteX6" fmla="*/ 1002182 w 1002182"/>
              <a:gd name="connsiteY6" fmla="*/ 400849 h 436062"/>
              <a:gd name="connsiteX7" fmla="*/ 919188 w 1002182"/>
              <a:gd name="connsiteY7" fmla="*/ 391710 h 436062"/>
              <a:gd name="connsiteX8" fmla="*/ 854639 w 1002182"/>
              <a:gd name="connsiteY8" fmla="*/ 340529 h 436062"/>
              <a:gd name="connsiteX9" fmla="*/ 700087 w 1002182"/>
              <a:gd name="connsiteY9" fmla="*/ 395288 h 436062"/>
              <a:gd name="connsiteX10" fmla="*/ 700087 w 1002182"/>
              <a:gd name="connsiteY10" fmla="*/ 257175 h 436062"/>
              <a:gd name="connsiteX11" fmla="*/ 342900 w 1002182"/>
              <a:gd name="connsiteY11" fmla="*/ 142875 h 436062"/>
              <a:gd name="connsiteX12" fmla="*/ 0 w 1002182"/>
              <a:gd name="connsiteY12" fmla="*/ 0 h 436062"/>
              <a:gd name="connsiteX0" fmla="*/ 0 w 1002182"/>
              <a:gd name="connsiteY0" fmla="*/ 0 h 438202"/>
              <a:gd name="connsiteX1" fmla="*/ 942975 w 1002182"/>
              <a:gd name="connsiteY1" fmla="*/ 0 h 438202"/>
              <a:gd name="connsiteX2" fmla="*/ 781050 w 1002182"/>
              <a:gd name="connsiteY2" fmla="*/ 257175 h 438202"/>
              <a:gd name="connsiteX3" fmla="*/ 786570 w 1002182"/>
              <a:gd name="connsiteY3" fmla="*/ 389805 h 438202"/>
              <a:gd name="connsiteX4" fmla="*/ 785477 w 1002182"/>
              <a:gd name="connsiteY4" fmla="*/ 293001 h 438202"/>
              <a:gd name="connsiteX5" fmla="*/ 983740 w 1002182"/>
              <a:gd name="connsiteY5" fmla="*/ 261927 h 438202"/>
              <a:gd name="connsiteX6" fmla="*/ 1002182 w 1002182"/>
              <a:gd name="connsiteY6" fmla="*/ 400849 h 438202"/>
              <a:gd name="connsiteX7" fmla="*/ 919188 w 1002182"/>
              <a:gd name="connsiteY7" fmla="*/ 391710 h 438202"/>
              <a:gd name="connsiteX8" fmla="*/ 854639 w 1002182"/>
              <a:gd name="connsiteY8" fmla="*/ 340529 h 438202"/>
              <a:gd name="connsiteX9" fmla="*/ 700087 w 1002182"/>
              <a:gd name="connsiteY9" fmla="*/ 395288 h 438202"/>
              <a:gd name="connsiteX10" fmla="*/ 700087 w 1002182"/>
              <a:gd name="connsiteY10" fmla="*/ 257175 h 438202"/>
              <a:gd name="connsiteX11" fmla="*/ 342900 w 1002182"/>
              <a:gd name="connsiteY11" fmla="*/ 142875 h 438202"/>
              <a:gd name="connsiteX12" fmla="*/ 0 w 1002182"/>
              <a:gd name="connsiteY12" fmla="*/ 0 h 438202"/>
              <a:gd name="connsiteX0" fmla="*/ 0 w 1002182"/>
              <a:gd name="connsiteY0" fmla="*/ 0 h 430234"/>
              <a:gd name="connsiteX1" fmla="*/ 942975 w 1002182"/>
              <a:gd name="connsiteY1" fmla="*/ 0 h 430234"/>
              <a:gd name="connsiteX2" fmla="*/ 781050 w 1002182"/>
              <a:gd name="connsiteY2" fmla="*/ 257175 h 430234"/>
              <a:gd name="connsiteX3" fmla="*/ 786570 w 1002182"/>
              <a:gd name="connsiteY3" fmla="*/ 389805 h 430234"/>
              <a:gd name="connsiteX4" fmla="*/ 785477 w 1002182"/>
              <a:gd name="connsiteY4" fmla="*/ 293001 h 430234"/>
              <a:gd name="connsiteX5" fmla="*/ 983740 w 1002182"/>
              <a:gd name="connsiteY5" fmla="*/ 261927 h 430234"/>
              <a:gd name="connsiteX6" fmla="*/ 1002182 w 1002182"/>
              <a:gd name="connsiteY6" fmla="*/ 400849 h 430234"/>
              <a:gd name="connsiteX7" fmla="*/ 919188 w 1002182"/>
              <a:gd name="connsiteY7" fmla="*/ 391710 h 430234"/>
              <a:gd name="connsiteX8" fmla="*/ 854639 w 1002182"/>
              <a:gd name="connsiteY8" fmla="*/ 340529 h 430234"/>
              <a:gd name="connsiteX9" fmla="*/ 700087 w 1002182"/>
              <a:gd name="connsiteY9" fmla="*/ 395288 h 430234"/>
              <a:gd name="connsiteX10" fmla="*/ 700087 w 1002182"/>
              <a:gd name="connsiteY10" fmla="*/ 257175 h 430234"/>
              <a:gd name="connsiteX11" fmla="*/ 342900 w 1002182"/>
              <a:gd name="connsiteY11" fmla="*/ 142875 h 430234"/>
              <a:gd name="connsiteX12" fmla="*/ 0 w 1002182"/>
              <a:gd name="connsiteY12" fmla="*/ 0 h 430234"/>
              <a:gd name="connsiteX0" fmla="*/ 0 w 1002182"/>
              <a:gd name="connsiteY0" fmla="*/ 0 h 430234"/>
              <a:gd name="connsiteX1" fmla="*/ 942975 w 1002182"/>
              <a:gd name="connsiteY1" fmla="*/ 0 h 430234"/>
              <a:gd name="connsiteX2" fmla="*/ 781050 w 1002182"/>
              <a:gd name="connsiteY2" fmla="*/ 257175 h 430234"/>
              <a:gd name="connsiteX3" fmla="*/ 786570 w 1002182"/>
              <a:gd name="connsiteY3" fmla="*/ 389805 h 430234"/>
              <a:gd name="connsiteX4" fmla="*/ 785477 w 1002182"/>
              <a:gd name="connsiteY4" fmla="*/ 293001 h 430234"/>
              <a:gd name="connsiteX5" fmla="*/ 1002182 w 1002182"/>
              <a:gd name="connsiteY5" fmla="*/ 400849 h 430234"/>
              <a:gd name="connsiteX6" fmla="*/ 919188 w 1002182"/>
              <a:gd name="connsiteY6" fmla="*/ 391710 h 430234"/>
              <a:gd name="connsiteX7" fmla="*/ 854639 w 1002182"/>
              <a:gd name="connsiteY7" fmla="*/ 340529 h 430234"/>
              <a:gd name="connsiteX8" fmla="*/ 700087 w 1002182"/>
              <a:gd name="connsiteY8" fmla="*/ 395288 h 430234"/>
              <a:gd name="connsiteX9" fmla="*/ 700087 w 1002182"/>
              <a:gd name="connsiteY9" fmla="*/ 257175 h 430234"/>
              <a:gd name="connsiteX10" fmla="*/ 342900 w 1002182"/>
              <a:gd name="connsiteY10" fmla="*/ 142875 h 430234"/>
              <a:gd name="connsiteX11" fmla="*/ 0 w 1002182"/>
              <a:gd name="connsiteY11" fmla="*/ 0 h 430234"/>
              <a:gd name="connsiteX0" fmla="*/ 0 w 1002182"/>
              <a:gd name="connsiteY0" fmla="*/ 0 h 430234"/>
              <a:gd name="connsiteX1" fmla="*/ 942975 w 1002182"/>
              <a:gd name="connsiteY1" fmla="*/ 0 h 430234"/>
              <a:gd name="connsiteX2" fmla="*/ 781050 w 1002182"/>
              <a:gd name="connsiteY2" fmla="*/ 257175 h 430234"/>
              <a:gd name="connsiteX3" fmla="*/ 786570 w 1002182"/>
              <a:gd name="connsiteY3" fmla="*/ 389805 h 430234"/>
              <a:gd name="connsiteX4" fmla="*/ 785477 w 1002182"/>
              <a:gd name="connsiteY4" fmla="*/ 293001 h 430234"/>
              <a:gd name="connsiteX5" fmla="*/ 1002182 w 1002182"/>
              <a:gd name="connsiteY5" fmla="*/ 400849 h 430234"/>
              <a:gd name="connsiteX6" fmla="*/ 919188 w 1002182"/>
              <a:gd name="connsiteY6" fmla="*/ 391710 h 430234"/>
              <a:gd name="connsiteX7" fmla="*/ 854639 w 1002182"/>
              <a:gd name="connsiteY7" fmla="*/ 340529 h 430234"/>
              <a:gd name="connsiteX8" fmla="*/ 700087 w 1002182"/>
              <a:gd name="connsiteY8" fmla="*/ 395288 h 430234"/>
              <a:gd name="connsiteX9" fmla="*/ 700087 w 1002182"/>
              <a:gd name="connsiteY9" fmla="*/ 257175 h 430234"/>
              <a:gd name="connsiteX10" fmla="*/ 342900 w 1002182"/>
              <a:gd name="connsiteY10" fmla="*/ 142875 h 430234"/>
              <a:gd name="connsiteX11" fmla="*/ 0 w 1002182"/>
              <a:gd name="connsiteY11" fmla="*/ 0 h 430234"/>
              <a:gd name="connsiteX0" fmla="*/ 0 w 1002182"/>
              <a:gd name="connsiteY0" fmla="*/ 0 h 430234"/>
              <a:gd name="connsiteX1" fmla="*/ 942975 w 1002182"/>
              <a:gd name="connsiteY1" fmla="*/ 0 h 430234"/>
              <a:gd name="connsiteX2" fmla="*/ 781050 w 1002182"/>
              <a:gd name="connsiteY2" fmla="*/ 257175 h 430234"/>
              <a:gd name="connsiteX3" fmla="*/ 786570 w 1002182"/>
              <a:gd name="connsiteY3" fmla="*/ 389805 h 430234"/>
              <a:gd name="connsiteX4" fmla="*/ 785477 w 1002182"/>
              <a:gd name="connsiteY4" fmla="*/ 293001 h 430234"/>
              <a:gd name="connsiteX5" fmla="*/ 1002182 w 1002182"/>
              <a:gd name="connsiteY5" fmla="*/ 400849 h 430234"/>
              <a:gd name="connsiteX6" fmla="*/ 919188 w 1002182"/>
              <a:gd name="connsiteY6" fmla="*/ 391710 h 430234"/>
              <a:gd name="connsiteX7" fmla="*/ 854639 w 1002182"/>
              <a:gd name="connsiteY7" fmla="*/ 340529 h 430234"/>
              <a:gd name="connsiteX8" fmla="*/ 700087 w 1002182"/>
              <a:gd name="connsiteY8" fmla="*/ 395288 h 430234"/>
              <a:gd name="connsiteX9" fmla="*/ 700087 w 1002182"/>
              <a:gd name="connsiteY9" fmla="*/ 257175 h 430234"/>
              <a:gd name="connsiteX10" fmla="*/ 342900 w 1002182"/>
              <a:gd name="connsiteY10" fmla="*/ 142875 h 430234"/>
              <a:gd name="connsiteX11" fmla="*/ 0 w 1002182"/>
              <a:gd name="connsiteY11" fmla="*/ 0 h 430234"/>
              <a:gd name="connsiteX0" fmla="*/ 0 w 1002182"/>
              <a:gd name="connsiteY0" fmla="*/ 0 h 430234"/>
              <a:gd name="connsiteX1" fmla="*/ 942975 w 1002182"/>
              <a:gd name="connsiteY1" fmla="*/ 0 h 430234"/>
              <a:gd name="connsiteX2" fmla="*/ 781050 w 1002182"/>
              <a:gd name="connsiteY2" fmla="*/ 257175 h 430234"/>
              <a:gd name="connsiteX3" fmla="*/ 786570 w 1002182"/>
              <a:gd name="connsiteY3" fmla="*/ 389805 h 430234"/>
              <a:gd name="connsiteX4" fmla="*/ 785477 w 1002182"/>
              <a:gd name="connsiteY4" fmla="*/ 293001 h 430234"/>
              <a:gd name="connsiteX5" fmla="*/ 1002182 w 1002182"/>
              <a:gd name="connsiteY5" fmla="*/ 400849 h 430234"/>
              <a:gd name="connsiteX6" fmla="*/ 919188 w 1002182"/>
              <a:gd name="connsiteY6" fmla="*/ 391710 h 430234"/>
              <a:gd name="connsiteX7" fmla="*/ 854639 w 1002182"/>
              <a:gd name="connsiteY7" fmla="*/ 340529 h 430234"/>
              <a:gd name="connsiteX8" fmla="*/ 700087 w 1002182"/>
              <a:gd name="connsiteY8" fmla="*/ 395288 h 430234"/>
              <a:gd name="connsiteX9" fmla="*/ 700087 w 1002182"/>
              <a:gd name="connsiteY9" fmla="*/ 257175 h 430234"/>
              <a:gd name="connsiteX10" fmla="*/ 342900 w 1002182"/>
              <a:gd name="connsiteY10" fmla="*/ 142875 h 430234"/>
              <a:gd name="connsiteX11" fmla="*/ 0 w 1002182"/>
              <a:gd name="connsiteY11" fmla="*/ 0 h 430234"/>
              <a:gd name="connsiteX0" fmla="*/ 0 w 974518"/>
              <a:gd name="connsiteY0" fmla="*/ 0 h 430234"/>
              <a:gd name="connsiteX1" fmla="*/ 942975 w 974518"/>
              <a:gd name="connsiteY1" fmla="*/ 0 h 430234"/>
              <a:gd name="connsiteX2" fmla="*/ 781050 w 974518"/>
              <a:gd name="connsiteY2" fmla="*/ 257175 h 430234"/>
              <a:gd name="connsiteX3" fmla="*/ 786570 w 974518"/>
              <a:gd name="connsiteY3" fmla="*/ 389805 h 430234"/>
              <a:gd name="connsiteX4" fmla="*/ 785477 w 974518"/>
              <a:gd name="connsiteY4" fmla="*/ 293001 h 430234"/>
              <a:gd name="connsiteX5" fmla="*/ 974518 w 974518"/>
              <a:gd name="connsiteY5" fmla="*/ 395366 h 430234"/>
              <a:gd name="connsiteX6" fmla="*/ 919188 w 974518"/>
              <a:gd name="connsiteY6" fmla="*/ 391710 h 430234"/>
              <a:gd name="connsiteX7" fmla="*/ 854639 w 974518"/>
              <a:gd name="connsiteY7" fmla="*/ 340529 h 430234"/>
              <a:gd name="connsiteX8" fmla="*/ 700087 w 974518"/>
              <a:gd name="connsiteY8" fmla="*/ 395288 h 430234"/>
              <a:gd name="connsiteX9" fmla="*/ 700087 w 974518"/>
              <a:gd name="connsiteY9" fmla="*/ 257175 h 430234"/>
              <a:gd name="connsiteX10" fmla="*/ 342900 w 974518"/>
              <a:gd name="connsiteY10" fmla="*/ 142875 h 430234"/>
              <a:gd name="connsiteX11" fmla="*/ 0 w 974518"/>
              <a:gd name="connsiteY11" fmla="*/ 0 h 430234"/>
              <a:gd name="connsiteX0" fmla="*/ 0 w 974518"/>
              <a:gd name="connsiteY0" fmla="*/ 0 h 430234"/>
              <a:gd name="connsiteX1" fmla="*/ 942975 w 974518"/>
              <a:gd name="connsiteY1" fmla="*/ 0 h 430234"/>
              <a:gd name="connsiteX2" fmla="*/ 781050 w 974518"/>
              <a:gd name="connsiteY2" fmla="*/ 257175 h 430234"/>
              <a:gd name="connsiteX3" fmla="*/ 786570 w 974518"/>
              <a:gd name="connsiteY3" fmla="*/ 389805 h 430234"/>
              <a:gd name="connsiteX4" fmla="*/ 785477 w 974518"/>
              <a:gd name="connsiteY4" fmla="*/ 293001 h 430234"/>
              <a:gd name="connsiteX5" fmla="*/ 974518 w 974518"/>
              <a:gd name="connsiteY5" fmla="*/ 395366 h 430234"/>
              <a:gd name="connsiteX6" fmla="*/ 863859 w 974518"/>
              <a:gd name="connsiteY6" fmla="*/ 388055 h 430234"/>
              <a:gd name="connsiteX7" fmla="*/ 854639 w 974518"/>
              <a:gd name="connsiteY7" fmla="*/ 340529 h 430234"/>
              <a:gd name="connsiteX8" fmla="*/ 700087 w 974518"/>
              <a:gd name="connsiteY8" fmla="*/ 395288 h 430234"/>
              <a:gd name="connsiteX9" fmla="*/ 700087 w 974518"/>
              <a:gd name="connsiteY9" fmla="*/ 257175 h 430234"/>
              <a:gd name="connsiteX10" fmla="*/ 342900 w 974518"/>
              <a:gd name="connsiteY10" fmla="*/ 142875 h 430234"/>
              <a:gd name="connsiteX11" fmla="*/ 0 w 974518"/>
              <a:gd name="connsiteY11" fmla="*/ 0 h 430234"/>
              <a:gd name="connsiteX0" fmla="*/ 0 w 974518"/>
              <a:gd name="connsiteY0" fmla="*/ 0 h 430234"/>
              <a:gd name="connsiteX1" fmla="*/ 942975 w 974518"/>
              <a:gd name="connsiteY1" fmla="*/ 0 h 430234"/>
              <a:gd name="connsiteX2" fmla="*/ 781050 w 974518"/>
              <a:gd name="connsiteY2" fmla="*/ 257175 h 430234"/>
              <a:gd name="connsiteX3" fmla="*/ 786570 w 974518"/>
              <a:gd name="connsiteY3" fmla="*/ 389805 h 430234"/>
              <a:gd name="connsiteX4" fmla="*/ 785477 w 974518"/>
              <a:gd name="connsiteY4" fmla="*/ 293001 h 430234"/>
              <a:gd name="connsiteX5" fmla="*/ 974518 w 974518"/>
              <a:gd name="connsiteY5" fmla="*/ 395366 h 430234"/>
              <a:gd name="connsiteX6" fmla="*/ 863859 w 974518"/>
              <a:gd name="connsiteY6" fmla="*/ 388055 h 430234"/>
              <a:gd name="connsiteX7" fmla="*/ 854639 w 974518"/>
              <a:gd name="connsiteY7" fmla="*/ 340529 h 430234"/>
              <a:gd name="connsiteX8" fmla="*/ 700087 w 974518"/>
              <a:gd name="connsiteY8" fmla="*/ 395288 h 430234"/>
              <a:gd name="connsiteX9" fmla="*/ 700087 w 974518"/>
              <a:gd name="connsiteY9" fmla="*/ 257175 h 430234"/>
              <a:gd name="connsiteX10" fmla="*/ 342900 w 974518"/>
              <a:gd name="connsiteY10" fmla="*/ 142875 h 430234"/>
              <a:gd name="connsiteX11" fmla="*/ 0 w 974518"/>
              <a:gd name="connsiteY11" fmla="*/ 0 h 430234"/>
              <a:gd name="connsiteX0" fmla="*/ 0 w 953770"/>
              <a:gd name="connsiteY0" fmla="*/ 0 h 430234"/>
              <a:gd name="connsiteX1" fmla="*/ 942975 w 953770"/>
              <a:gd name="connsiteY1" fmla="*/ 0 h 430234"/>
              <a:gd name="connsiteX2" fmla="*/ 781050 w 953770"/>
              <a:gd name="connsiteY2" fmla="*/ 257175 h 430234"/>
              <a:gd name="connsiteX3" fmla="*/ 786570 w 953770"/>
              <a:gd name="connsiteY3" fmla="*/ 389805 h 430234"/>
              <a:gd name="connsiteX4" fmla="*/ 785477 w 953770"/>
              <a:gd name="connsiteY4" fmla="*/ 293001 h 430234"/>
              <a:gd name="connsiteX5" fmla="*/ 953770 w 953770"/>
              <a:gd name="connsiteY5" fmla="*/ 389882 h 430234"/>
              <a:gd name="connsiteX6" fmla="*/ 863859 w 953770"/>
              <a:gd name="connsiteY6" fmla="*/ 388055 h 430234"/>
              <a:gd name="connsiteX7" fmla="*/ 854639 w 953770"/>
              <a:gd name="connsiteY7" fmla="*/ 340529 h 430234"/>
              <a:gd name="connsiteX8" fmla="*/ 700087 w 953770"/>
              <a:gd name="connsiteY8" fmla="*/ 395288 h 430234"/>
              <a:gd name="connsiteX9" fmla="*/ 700087 w 953770"/>
              <a:gd name="connsiteY9" fmla="*/ 257175 h 430234"/>
              <a:gd name="connsiteX10" fmla="*/ 342900 w 953770"/>
              <a:gd name="connsiteY10" fmla="*/ 142875 h 430234"/>
              <a:gd name="connsiteX11" fmla="*/ 0 w 953770"/>
              <a:gd name="connsiteY11" fmla="*/ 0 h 430234"/>
              <a:gd name="connsiteX0" fmla="*/ 0 w 953770"/>
              <a:gd name="connsiteY0" fmla="*/ 0 h 430234"/>
              <a:gd name="connsiteX1" fmla="*/ 942975 w 953770"/>
              <a:gd name="connsiteY1" fmla="*/ 0 h 430234"/>
              <a:gd name="connsiteX2" fmla="*/ 781050 w 953770"/>
              <a:gd name="connsiteY2" fmla="*/ 257175 h 430234"/>
              <a:gd name="connsiteX3" fmla="*/ 786570 w 953770"/>
              <a:gd name="connsiteY3" fmla="*/ 389805 h 430234"/>
              <a:gd name="connsiteX4" fmla="*/ 785477 w 953770"/>
              <a:gd name="connsiteY4" fmla="*/ 293001 h 430234"/>
              <a:gd name="connsiteX5" fmla="*/ 953770 w 953770"/>
              <a:gd name="connsiteY5" fmla="*/ 389882 h 430234"/>
              <a:gd name="connsiteX6" fmla="*/ 863859 w 953770"/>
              <a:gd name="connsiteY6" fmla="*/ 388055 h 430234"/>
              <a:gd name="connsiteX7" fmla="*/ 854639 w 953770"/>
              <a:gd name="connsiteY7" fmla="*/ 340529 h 430234"/>
              <a:gd name="connsiteX8" fmla="*/ 700087 w 953770"/>
              <a:gd name="connsiteY8" fmla="*/ 395288 h 430234"/>
              <a:gd name="connsiteX9" fmla="*/ 700087 w 953770"/>
              <a:gd name="connsiteY9" fmla="*/ 257175 h 430234"/>
              <a:gd name="connsiteX10" fmla="*/ 342900 w 953770"/>
              <a:gd name="connsiteY10" fmla="*/ 142875 h 430234"/>
              <a:gd name="connsiteX11" fmla="*/ 0 w 953770"/>
              <a:gd name="connsiteY11" fmla="*/ 0 h 430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3770" h="430234">
                <a:moveTo>
                  <a:pt x="0" y="0"/>
                </a:moveTo>
                <a:lnTo>
                  <a:pt x="942975" y="0"/>
                </a:lnTo>
                <a:cubicBezTo>
                  <a:pt x="954088" y="138112"/>
                  <a:pt x="855662" y="191294"/>
                  <a:pt x="781050" y="257175"/>
                </a:cubicBezTo>
                <a:lnTo>
                  <a:pt x="786570" y="389805"/>
                </a:lnTo>
                <a:cubicBezTo>
                  <a:pt x="786206" y="357537"/>
                  <a:pt x="785841" y="325269"/>
                  <a:pt x="785477" y="293001"/>
                </a:cubicBezTo>
                <a:cubicBezTo>
                  <a:pt x="975872" y="238175"/>
                  <a:pt x="945317" y="309454"/>
                  <a:pt x="953770" y="389882"/>
                </a:cubicBezTo>
                <a:lnTo>
                  <a:pt x="863859" y="388055"/>
                </a:lnTo>
                <a:lnTo>
                  <a:pt x="854639" y="340529"/>
                </a:lnTo>
                <a:cubicBezTo>
                  <a:pt x="859619" y="374029"/>
                  <a:pt x="806918" y="486563"/>
                  <a:pt x="700087" y="395288"/>
                </a:cubicBezTo>
                <a:lnTo>
                  <a:pt x="700087" y="257175"/>
                </a:lnTo>
                <a:cubicBezTo>
                  <a:pt x="514350" y="233363"/>
                  <a:pt x="476249" y="195262"/>
                  <a:pt x="342900" y="142875"/>
                </a:cubicBezTo>
                <a:cubicBezTo>
                  <a:pt x="214313" y="123826"/>
                  <a:pt x="47625" y="128588"/>
                  <a:pt x="0" y="0"/>
                </a:cubicBezTo>
                <a:close/>
              </a:path>
            </a:pathLst>
          </a:custGeom>
          <a:solidFill>
            <a:sysClr val="window" lastClr="FFFFFF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1527175" y="4617245"/>
            <a:ext cx="803275" cy="781050"/>
          </a:xfrm>
          <a:custGeom>
            <a:avLst/>
            <a:gdLst>
              <a:gd name="connsiteX0" fmla="*/ 0 w 812800"/>
              <a:gd name="connsiteY0" fmla="*/ 0 h 781050"/>
              <a:gd name="connsiteX1" fmla="*/ 0 w 812800"/>
              <a:gd name="connsiteY1" fmla="*/ 196850 h 781050"/>
              <a:gd name="connsiteX2" fmla="*/ 114300 w 812800"/>
              <a:gd name="connsiteY2" fmla="*/ 101600 h 781050"/>
              <a:gd name="connsiteX3" fmla="*/ 215900 w 812800"/>
              <a:gd name="connsiteY3" fmla="*/ 190500 h 781050"/>
              <a:gd name="connsiteX4" fmla="*/ 215900 w 812800"/>
              <a:gd name="connsiteY4" fmla="*/ 603250 h 781050"/>
              <a:gd name="connsiteX5" fmla="*/ 381000 w 812800"/>
              <a:gd name="connsiteY5" fmla="*/ 781050 h 781050"/>
              <a:gd name="connsiteX6" fmla="*/ 812800 w 812800"/>
              <a:gd name="connsiteY6" fmla="*/ 774700 h 781050"/>
              <a:gd name="connsiteX0" fmla="*/ 0 w 812800"/>
              <a:gd name="connsiteY0" fmla="*/ 0 h 781050"/>
              <a:gd name="connsiteX1" fmla="*/ 0 w 812800"/>
              <a:gd name="connsiteY1" fmla="*/ 196850 h 781050"/>
              <a:gd name="connsiteX2" fmla="*/ 114300 w 812800"/>
              <a:gd name="connsiteY2" fmla="*/ 101600 h 781050"/>
              <a:gd name="connsiteX3" fmla="*/ 215900 w 812800"/>
              <a:gd name="connsiteY3" fmla="*/ 190500 h 781050"/>
              <a:gd name="connsiteX4" fmla="*/ 215900 w 812800"/>
              <a:gd name="connsiteY4" fmla="*/ 603250 h 781050"/>
              <a:gd name="connsiteX5" fmla="*/ 381000 w 812800"/>
              <a:gd name="connsiteY5" fmla="*/ 781050 h 781050"/>
              <a:gd name="connsiteX6" fmla="*/ 812800 w 812800"/>
              <a:gd name="connsiteY6" fmla="*/ 774700 h 781050"/>
              <a:gd name="connsiteX0" fmla="*/ 0 w 812800"/>
              <a:gd name="connsiteY0" fmla="*/ 0 h 781050"/>
              <a:gd name="connsiteX1" fmla="*/ 0 w 812800"/>
              <a:gd name="connsiteY1" fmla="*/ 196850 h 781050"/>
              <a:gd name="connsiteX2" fmla="*/ 114300 w 812800"/>
              <a:gd name="connsiteY2" fmla="*/ 101600 h 781050"/>
              <a:gd name="connsiteX3" fmla="*/ 215900 w 812800"/>
              <a:gd name="connsiteY3" fmla="*/ 190500 h 781050"/>
              <a:gd name="connsiteX4" fmla="*/ 215900 w 812800"/>
              <a:gd name="connsiteY4" fmla="*/ 603250 h 781050"/>
              <a:gd name="connsiteX5" fmla="*/ 381000 w 812800"/>
              <a:gd name="connsiteY5" fmla="*/ 781050 h 781050"/>
              <a:gd name="connsiteX6" fmla="*/ 812800 w 812800"/>
              <a:gd name="connsiteY6" fmla="*/ 774700 h 781050"/>
              <a:gd name="connsiteX0" fmla="*/ 0 w 812800"/>
              <a:gd name="connsiteY0" fmla="*/ 0 h 781050"/>
              <a:gd name="connsiteX1" fmla="*/ 0 w 812800"/>
              <a:gd name="connsiteY1" fmla="*/ 196850 h 781050"/>
              <a:gd name="connsiteX2" fmla="*/ 114300 w 812800"/>
              <a:gd name="connsiteY2" fmla="*/ 101600 h 781050"/>
              <a:gd name="connsiteX3" fmla="*/ 215900 w 812800"/>
              <a:gd name="connsiteY3" fmla="*/ 190500 h 781050"/>
              <a:gd name="connsiteX4" fmla="*/ 215900 w 812800"/>
              <a:gd name="connsiteY4" fmla="*/ 603250 h 781050"/>
              <a:gd name="connsiteX5" fmla="*/ 381000 w 812800"/>
              <a:gd name="connsiteY5" fmla="*/ 781050 h 781050"/>
              <a:gd name="connsiteX6" fmla="*/ 812800 w 812800"/>
              <a:gd name="connsiteY6" fmla="*/ 774700 h 781050"/>
              <a:gd name="connsiteX0" fmla="*/ 0 w 812800"/>
              <a:gd name="connsiteY0" fmla="*/ 0 h 781050"/>
              <a:gd name="connsiteX1" fmla="*/ 0 w 812800"/>
              <a:gd name="connsiteY1" fmla="*/ 196850 h 781050"/>
              <a:gd name="connsiteX2" fmla="*/ 114300 w 812800"/>
              <a:gd name="connsiteY2" fmla="*/ 101600 h 781050"/>
              <a:gd name="connsiteX3" fmla="*/ 215900 w 812800"/>
              <a:gd name="connsiteY3" fmla="*/ 190500 h 781050"/>
              <a:gd name="connsiteX4" fmla="*/ 215900 w 812800"/>
              <a:gd name="connsiteY4" fmla="*/ 603250 h 781050"/>
              <a:gd name="connsiteX5" fmla="*/ 381000 w 812800"/>
              <a:gd name="connsiteY5" fmla="*/ 781050 h 781050"/>
              <a:gd name="connsiteX6" fmla="*/ 812800 w 812800"/>
              <a:gd name="connsiteY6" fmla="*/ 774700 h 781050"/>
              <a:gd name="connsiteX0" fmla="*/ 0 w 812800"/>
              <a:gd name="connsiteY0" fmla="*/ 0 h 781050"/>
              <a:gd name="connsiteX1" fmla="*/ 0 w 812800"/>
              <a:gd name="connsiteY1" fmla="*/ 196850 h 781050"/>
              <a:gd name="connsiteX2" fmla="*/ 114300 w 812800"/>
              <a:gd name="connsiteY2" fmla="*/ 101600 h 781050"/>
              <a:gd name="connsiteX3" fmla="*/ 215900 w 812800"/>
              <a:gd name="connsiteY3" fmla="*/ 190500 h 781050"/>
              <a:gd name="connsiteX4" fmla="*/ 215900 w 812800"/>
              <a:gd name="connsiteY4" fmla="*/ 603250 h 781050"/>
              <a:gd name="connsiteX5" fmla="*/ 381000 w 812800"/>
              <a:gd name="connsiteY5" fmla="*/ 781050 h 781050"/>
              <a:gd name="connsiteX6" fmla="*/ 812800 w 812800"/>
              <a:gd name="connsiteY6" fmla="*/ 774700 h 781050"/>
              <a:gd name="connsiteX0" fmla="*/ 0 w 812800"/>
              <a:gd name="connsiteY0" fmla="*/ 0 h 781050"/>
              <a:gd name="connsiteX1" fmla="*/ 0 w 812800"/>
              <a:gd name="connsiteY1" fmla="*/ 196850 h 781050"/>
              <a:gd name="connsiteX2" fmla="*/ 114300 w 812800"/>
              <a:gd name="connsiteY2" fmla="*/ 101600 h 781050"/>
              <a:gd name="connsiteX3" fmla="*/ 215900 w 812800"/>
              <a:gd name="connsiteY3" fmla="*/ 190500 h 781050"/>
              <a:gd name="connsiteX4" fmla="*/ 215900 w 812800"/>
              <a:gd name="connsiteY4" fmla="*/ 603250 h 781050"/>
              <a:gd name="connsiteX5" fmla="*/ 381000 w 812800"/>
              <a:gd name="connsiteY5" fmla="*/ 781050 h 781050"/>
              <a:gd name="connsiteX6" fmla="*/ 812800 w 812800"/>
              <a:gd name="connsiteY6" fmla="*/ 774700 h 781050"/>
              <a:gd name="connsiteX0" fmla="*/ 0 w 812800"/>
              <a:gd name="connsiteY0" fmla="*/ 0 h 781090"/>
              <a:gd name="connsiteX1" fmla="*/ 0 w 812800"/>
              <a:gd name="connsiteY1" fmla="*/ 196850 h 781090"/>
              <a:gd name="connsiteX2" fmla="*/ 114300 w 812800"/>
              <a:gd name="connsiteY2" fmla="*/ 101600 h 781090"/>
              <a:gd name="connsiteX3" fmla="*/ 215900 w 812800"/>
              <a:gd name="connsiteY3" fmla="*/ 190500 h 781090"/>
              <a:gd name="connsiteX4" fmla="*/ 215900 w 812800"/>
              <a:gd name="connsiteY4" fmla="*/ 603250 h 781090"/>
              <a:gd name="connsiteX5" fmla="*/ 381000 w 812800"/>
              <a:gd name="connsiteY5" fmla="*/ 781050 h 781090"/>
              <a:gd name="connsiteX6" fmla="*/ 812800 w 812800"/>
              <a:gd name="connsiteY6" fmla="*/ 774700 h 781090"/>
              <a:gd name="connsiteX0" fmla="*/ 0 w 812800"/>
              <a:gd name="connsiteY0" fmla="*/ 0 h 788231"/>
              <a:gd name="connsiteX1" fmla="*/ 0 w 812800"/>
              <a:gd name="connsiteY1" fmla="*/ 196850 h 788231"/>
              <a:gd name="connsiteX2" fmla="*/ 114300 w 812800"/>
              <a:gd name="connsiteY2" fmla="*/ 101600 h 788231"/>
              <a:gd name="connsiteX3" fmla="*/ 215900 w 812800"/>
              <a:gd name="connsiteY3" fmla="*/ 190500 h 788231"/>
              <a:gd name="connsiteX4" fmla="*/ 215900 w 812800"/>
              <a:gd name="connsiteY4" fmla="*/ 603250 h 788231"/>
              <a:gd name="connsiteX5" fmla="*/ 478631 w 812800"/>
              <a:gd name="connsiteY5" fmla="*/ 788194 h 788231"/>
              <a:gd name="connsiteX6" fmla="*/ 812800 w 812800"/>
              <a:gd name="connsiteY6" fmla="*/ 774700 h 788231"/>
              <a:gd name="connsiteX0" fmla="*/ 0 w 812800"/>
              <a:gd name="connsiteY0" fmla="*/ 0 h 800546"/>
              <a:gd name="connsiteX1" fmla="*/ 0 w 812800"/>
              <a:gd name="connsiteY1" fmla="*/ 196850 h 800546"/>
              <a:gd name="connsiteX2" fmla="*/ 114300 w 812800"/>
              <a:gd name="connsiteY2" fmla="*/ 101600 h 800546"/>
              <a:gd name="connsiteX3" fmla="*/ 215900 w 812800"/>
              <a:gd name="connsiteY3" fmla="*/ 190500 h 800546"/>
              <a:gd name="connsiteX4" fmla="*/ 218282 w 812800"/>
              <a:gd name="connsiteY4" fmla="*/ 579438 h 800546"/>
              <a:gd name="connsiteX5" fmla="*/ 478631 w 812800"/>
              <a:gd name="connsiteY5" fmla="*/ 788194 h 800546"/>
              <a:gd name="connsiteX6" fmla="*/ 812800 w 812800"/>
              <a:gd name="connsiteY6" fmla="*/ 774700 h 800546"/>
              <a:gd name="connsiteX0" fmla="*/ 0 w 812800"/>
              <a:gd name="connsiteY0" fmla="*/ 0 h 800546"/>
              <a:gd name="connsiteX1" fmla="*/ 0 w 812800"/>
              <a:gd name="connsiteY1" fmla="*/ 196850 h 800546"/>
              <a:gd name="connsiteX2" fmla="*/ 114300 w 812800"/>
              <a:gd name="connsiteY2" fmla="*/ 101600 h 800546"/>
              <a:gd name="connsiteX3" fmla="*/ 215900 w 812800"/>
              <a:gd name="connsiteY3" fmla="*/ 190500 h 800546"/>
              <a:gd name="connsiteX4" fmla="*/ 218282 w 812800"/>
              <a:gd name="connsiteY4" fmla="*/ 579438 h 800546"/>
              <a:gd name="connsiteX5" fmla="*/ 478631 w 812800"/>
              <a:gd name="connsiteY5" fmla="*/ 788194 h 800546"/>
              <a:gd name="connsiteX6" fmla="*/ 812800 w 812800"/>
              <a:gd name="connsiteY6" fmla="*/ 774700 h 800546"/>
              <a:gd name="connsiteX0" fmla="*/ 0 w 812800"/>
              <a:gd name="connsiteY0" fmla="*/ 0 h 792452"/>
              <a:gd name="connsiteX1" fmla="*/ 0 w 812800"/>
              <a:gd name="connsiteY1" fmla="*/ 196850 h 792452"/>
              <a:gd name="connsiteX2" fmla="*/ 114300 w 812800"/>
              <a:gd name="connsiteY2" fmla="*/ 101600 h 792452"/>
              <a:gd name="connsiteX3" fmla="*/ 215900 w 812800"/>
              <a:gd name="connsiteY3" fmla="*/ 190500 h 792452"/>
              <a:gd name="connsiteX4" fmla="*/ 218282 w 812800"/>
              <a:gd name="connsiteY4" fmla="*/ 579438 h 792452"/>
              <a:gd name="connsiteX5" fmla="*/ 478631 w 812800"/>
              <a:gd name="connsiteY5" fmla="*/ 788194 h 792452"/>
              <a:gd name="connsiteX6" fmla="*/ 812800 w 812800"/>
              <a:gd name="connsiteY6" fmla="*/ 774700 h 792452"/>
              <a:gd name="connsiteX0" fmla="*/ 0 w 812800"/>
              <a:gd name="connsiteY0" fmla="*/ 0 h 788194"/>
              <a:gd name="connsiteX1" fmla="*/ 0 w 812800"/>
              <a:gd name="connsiteY1" fmla="*/ 196850 h 788194"/>
              <a:gd name="connsiteX2" fmla="*/ 114300 w 812800"/>
              <a:gd name="connsiteY2" fmla="*/ 101600 h 788194"/>
              <a:gd name="connsiteX3" fmla="*/ 215900 w 812800"/>
              <a:gd name="connsiteY3" fmla="*/ 190500 h 788194"/>
              <a:gd name="connsiteX4" fmla="*/ 218282 w 812800"/>
              <a:gd name="connsiteY4" fmla="*/ 579438 h 788194"/>
              <a:gd name="connsiteX5" fmla="*/ 478631 w 812800"/>
              <a:gd name="connsiteY5" fmla="*/ 788194 h 788194"/>
              <a:gd name="connsiteX6" fmla="*/ 812800 w 812800"/>
              <a:gd name="connsiteY6" fmla="*/ 774700 h 788194"/>
              <a:gd name="connsiteX0" fmla="*/ 0 w 812800"/>
              <a:gd name="connsiteY0" fmla="*/ 0 h 788194"/>
              <a:gd name="connsiteX1" fmla="*/ 21431 w 812800"/>
              <a:gd name="connsiteY1" fmla="*/ 192087 h 788194"/>
              <a:gd name="connsiteX2" fmla="*/ 114300 w 812800"/>
              <a:gd name="connsiteY2" fmla="*/ 101600 h 788194"/>
              <a:gd name="connsiteX3" fmla="*/ 215900 w 812800"/>
              <a:gd name="connsiteY3" fmla="*/ 190500 h 788194"/>
              <a:gd name="connsiteX4" fmla="*/ 218282 w 812800"/>
              <a:gd name="connsiteY4" fmla="*/ 579438 h 788194"/>
              <a:gd name="connsiteX5" fmla="*/ 478631 w 812800"/>
              <a:gd name="connsiteY5" fmla="*/ 788194 h 788194"/>
              <a:gd name="connsiteX6" fmla="*/ 812800 w 812800"/>
              <a:gd name="connsiteY6" fmla="*/ 774700 h 788194"/>
              <a:gd name="connsiteX0" fmla="*/ 0 w 800894"/>
              <a:gd name="connsiteY0" fmla="*/ 0 h 769144"/>
              <a:gd name="connsiteX1" fmla="*/ 9525 w 800894"/>
              <a:gd name="connsiteY1" fmla="*/ 173037 h 769144"/>
              <a:gd name="connsiteX2" fmla="*/ 102394 w 800894"/>
              <a:gd name="connsiteY2" fmla="*/ 82550 h 769144"/>
              <a:gd name="connsiteX3" fmla="*/ 203994 w 800894"/>
              <a:gd name="connsiteY3" fmla="*/ 171450 h 769144"/>
              <a:gd name="connsiteX4" fmla="*/ 206376 w 800894"/>
              <a:gd name="connsiteY4" fmla="*/ 560388 h 769144"/>
              <a:gd name="connsiteX5" fmla="*/ 466725 w 800894"/>
              <a:gd name="connsiteY5" fmla="*/ 769144 h 769144"/>
              <a:gd name="connsiteX6" fmla="*/ 800894 w 800894"/>
              <a:gd name="connsiteY6" fmla="*/ 755650 h 769144"/>
              <a:gd name="connsiteX0" fmla="*/ 0 w 796131"/>
              <a:gd name="connsiteY0" fmla="*/ 0 h 781050"/>
              <a:gd name="connsiteX1" fmla="*/ 4762 w 796131"/>
              <a:gd name="connsiteY1" fmla="*/ 184943 h 781050"/>
              <a:gd name="connsiteX2" fmla="*/ 97631 w 796131"/>
              <a:gd name="connsiteY2" fmla="*/ 94456 h 781050"/>
              <a:gd name="connsiteX3" fmla="*/ 199231 w 796131"/>
              <a:gd name="connsiteY3" fmla="*/ 183356 h 781050"/>
              <a:gd name="connsiteX4" fmla="*/ 201613 w 796131"/>
              <a:gd name="connsiteY4" fmla="*/ 572294 h 781050"/>
              <a:gd name="connsiteX5" fmla="*/ 461962 w 796131"/>
              <a:gd name="connsiteY5" fmla="*/ 781050 h 781050"/>
              <a:gd name="connsiteX6" fmla="*/ 796131 w 796131"/>
              <a:gd name="connsiteY6" fmla="*/ 767556 h 781050"/>
              <a:gd name="connsiteX0" fmla="*/ 0 w 803275"/>
              <a:gd name="connsiteY0" fmla="*/ 0 h 781050"/>
              <a:gd name="connsiteX1" fmla="*/ 11906 w 803275"/>
              <a:gd name="connsiteY1" fmla="*/ 184943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  <a:gd name="connsiteX0" fmla="*/ 0 w 803275"/>
              <a:gd name="connsiteY0" fmla="*/ 0 h 781050"/>
              <a:gd name="connsiteX1" fmla="*/ 2381 w 803275"/>
              <a:gd name="connsiteY1" fmla="*/ 156368 h 781050"/>
              <a:gd name="connsiteX2" fmla="*/ 104775 w 803275"/>
              <a:gd name="connsiteY2" fmla="*/ 94456 h 781050"/>
              <a:gd name="connsiteX3" fmla="*/ 206375 w 803275"/>
              <a:gd name="connsiteY3" fmla="*/ 183356 h 781050"/>
              <a:gd name="connsiteX4" fmla="*/ 208757 w 803275"/>
              <a:gd name="connsiteY4" fmla="*/ 572294 h 781050"/>
              <a:gd name="connsiteX5" fmla="*/ 469106 w 803275"/>
              <a:gd name="connsiteY5" fmla="*/ 781050 h 781050"/>
              <a:gd name="connsiteX6" fmla="*/ 803275 w 803275"/>
              <a:gd name="connsiteY6" fmla="*/ 767556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03275" h="781050">
                <a:moveTo>
                  <a:pt x="0" y="0"/>
                </a:moveTo>
                <a:cubicBezTo>
                  <a:pt x="794" y="52123"/>
                  <a:pt x="1587" y="104245"/>
                  <a:pt x="2381" y="156368"/>
                </a:cubicBezTo>
                <a:cubicBezTo>
                  <a:pt x="54768" y="229393"/>
                  <a:pt x="92868" y="169069"/>
                  <a:pt x="104775" y="94456"/>
                </a:cubicBezTo>
                <a:cubicBezTo>
                  <a:pt x="226748" y="43126"/>
                  <a:pt x="205845" y="120386"/>
                  <a:pt x="206375" y="183356"/>
                </a:cubicBezTo>
                <a:lnTo>
                  <a:pt x="208757" y="572294"/>
                </a:lnTo>
                <a:cubicBezTo>
                  <a:pt x="229130" y="699294"/>
                  <a:pt x="303345" y="767556"/>
                  <a:pt x="469106" y="781050"/>
                </a:cubicBezTo>
                <a:lnTo>
                  <a:pt x="803275" y="767556"/>
                </a:lnTo>
              </a:path>
            </a:pathLst>
          </a:cu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21" name="Freeform 20"/>
          <p:cNvSpPr/>
          <p:nvPr/>
        </p:nvSpPr>
        <p:spPr>
          <a:xfrm>
            <a:off x="1157287" y="4505325"/>
            <a:ext cx="528638" cy="116681"/>
          </a:xfrm>
          <a:custGeom>
            <a:avLst/>
            <a:gdLst>
              <a:gd name="connsiteX0" fmla="*/ 531019 w 531019"/>
              <a:gd name="connsiteY0" fmla="*/ 0 h 314325"/>
              <a:gd name="connsiteX1" fmla="*/ 507206 w 531019"/>
              <a:gd name="connsiteY1" fmla="*/ 102394 h 314325"/>
              <a:gd name="connsiteX2" fmla="*/ 428625 w 531019"/>
              <a:gd name="connsiteY2" fmla="*/ 209550 h 314325"/>
              <a:gd name="connsiteX3" fmla="*/ 333375 w 531019"/>
              <a:gd name="connsiteY3" fmla="*/ 309563 h 314325"/>
              <a:gd name="connsiteX4" fmla="*/ 285750 w 531019"/>
              <a:gd name="connsiteY4" fmla="*/ 314325 h 314325"/>
              <a:gd name="connsiteX5" fmla="*/ 261938 w 531019"/>
              <a:gd name="connsiteY5" fmla="*/ 278607 h 314325"/>
              <a:gd name="connsiteX6" fmla="*/ 159544 w 531019"/>
              <a:gd name="connsiteY6" fmla="*/ 271463 h 314325"/>
              <a:gd name="connsiteX7" fmla="*/ 0 w 531019"/>
              <a:gd name="connsiteY7" fmla="*/ 214313 h 314325"/>
              <a:gd name="connsiteX8" fmla="*/ 385763 w 531019"/>
              <a:gd name="connsiteY8" fmla="*/ 195263 h 314325"/>
              <a:gd name="connsiteX9" fmla="*/ 531019 w 531019"/>
              <a:gd name="connsiteY9" fmla="*/ 0 h 314325"/>
              <a:gd name="connsiteX0" fmla="*/ 531019 w 531019"/>
              <a:gd name="connsiteY0" fmla="*/ 0 h 314325"/>
              <a:gd name="connsiteX1" fmla="*/ 507206 w 531019"/>
              <a:gd name="connsiteY1" fmla="*/ 102394 h 314325"/>
              <a:gd name="connsiteX2" fmla="*/ 428625 w 531019"/>
              <a:gd name="connsiteY2" fmla="*/ 209550 h 314325"/>
              <a:gd name="connsiteX3" fmla="*/ 333375 w 531019"/>
              <a:gd name="connsiteY3" fmla="*/ 309563 h 314325"/>
              <a:gd name="connsiteX4" fmla="*/ 285750 w 531019"/>
              <a:gd name="connsiteY4" fmla="*/ 314325 h 314325"/>
              <a:gd name="connsiteX5" fmla="*/ 228601 w 531019"/>
              <a:gd name="connsiteY5" fmla="*/ 285750 h 314325"/>
              <a:gd name="connsiteX6" fmla="*/ 159544 w 531019"/>
              <a:gd name="connsiteY6" fmla="*/ 271463 h 314325"/>
              <a:gd name="connsiteX7" fmla="*/ 0 w 531019"/>
              <a:gd name="connsiteY7" fmla="*/ 214313 h 314325"/>
              <a:gd name="connsiteX8" fmla="*/ 385763 w 531019"/>
              <a:gd name="connsiteY8" fmla="*/ 195263 h 314325"/>
              <a:gd name="connsiteX9" fmla="*/ 531019 w 531019"/>
              <a:gd name="connsiteY9" fmla="*/ 0 h 314325"/>
              <a:gd name="connsiteX0" fmla="*/ 597694 w 597694"/>
              <a:gd name="connsiteY0" fmla="*/ 0 h 314325"/>
              <a:gd name="connsiteX1" fmla="*/ 573881 w 597694"/>
              <a:gd name="connsiteY1" fmla="*/ 102394 h 314325"/>
              <a:gd name="connsiteX2" fmla="*/ 495300 w 597694"/>
              <a:gd name="connsiteY2" fmla="*/ 209550 h 314325"/>
              <a:gd name="connsiteX3" fmla="*/ 400050 w 597694"/>
              <a:gd name="connsiteY3" fmla="*/ 309563 h 314325"/>
              <a:gd name="connsiteX4" fmla="*/ 352425 w 597694"/>
              <a:gd name="connsiteY4" fmla="*/ 314325 h 314325"/>
              <a:gd name="connsiteX5" fmla="*/ 295276 w 597694"/>
              <a:gd name="connsiteY5" fmla="*/ 285750 h 314325"/>
              <a:gd name="connsiteX6" fmla="*/ 226219 w 597694"/>
              <a:gd name="connsiteY6" fmla="*/ 271463 h 314325"/>
              <a:gd name="connsiteX7" fmla="*/ 0 w 597694"/>
              <a:gd name="connsiteY7" fmla="*/ 192882 h 314325"/>
              <a:gd name="connsiteX8" fmla="*/ 452438 w 597694"/>
              <a:gd name="connsiteY8" fmla="*/ 195263 h 314325"/>
              <a:gd name="connsiteX9" fmla="*/ 597694 w 597694"/>
              <a:gd name="connsiteY9" fmla="*/ 0 h 314325"/>
              <a:gd name="connsiteX0" fmla="*/ 597694 w 597694"/>
              <a:gd name="connsiteY0" fmla="*/ 0 h 314325"/>
              <a:gd name="connsiteX1" fmla="*/ 573881 w 597694"/>
              <a:gd name="connsiteY1" fmla="*/ 102394 h 314325"/>
              <a:gd name="connsiteX2" fmla="*/ 495300 w 597694"/>
              <a:gd name="connsiteY2" fmla="*/ 209550 h 314325"/>
              <a:gd name="connsiteX3" fmla="*/ 400050 w 597694"/>
              <a:gd name="connsiteY3" fmla="*/ 309563 h 314325"/>
              <a:gd name="connsiteX4" fmla="*/ 352425 w 597694"/>
              <a:gd name="connsiteY4" fmla="*/ 314325 h 314325"/>
              <a:gd name="connsiteX5" fmla="*/ 295276 w 597694"/>
              <a:gd name="connsiteY5" fmla="*/ 285750 h 314325"/>
              <a:gd name="connsiteX6" fmla="*/ 152400 w 597694"/>
              <a:gd name="connsiteY6" fmla="*/ 261938 h 314325"/>
              <a:gd name="connsiteX7" fmla="*/ 0 w 597694"/>
              <a:gd name="connsiteY7" fmla="*/ 192882 h 314325"/>
              <a:gd name="connsiteX8" fmla="*/ 452438 w 597694"/>
              <a:gd name="connsiteY8" fmla="*/ 195263 h 314325"/>
              <a:gd name="connsiteX9" fmla="*/ 597694 w 597694"/>
              <a:gd name="connsiteY9" fmla="*/ 0 h 314325"/>
              <a:gd name="connsiteX0" fmla="*/ 597694 w 597694"/>
              <a:gd name="connsiteY0" fmla="*/ 0 h 314325"/>
              <a:gd name="connsiteX1" fmla="*/ 573881 w 597694"/>
              <a:gd name="connsiteY1" fmla="*/ 102394 h 314325"/>
              <a:gd name="connsiteX2" fmla="*/ 516731 w 597694"/>
              <a:gd name="connsiteY2" fmla="*/ 207169 h 314325"/>
              <a:gd name="connsiteX3" fmla="*/ 400050 w 597694"/>
              <a:gd name="connsiteY3" fmla="*/ 309563 h 314325"/>
              <a:gd name="connsiteX4" fmla="*/ 352425 w 597694"/>
              <a:gd name="connsiteY4" fmla="*/ 314325 h 314325"/>
              <a:gd name="connsiteX5" fmla="*/ 295276 w 597694"/>
              <a:gd name="connsiteY5" fmla="*/ 285750 h 314325"/>
              <a:gd name="connsiteX6" fmla="*/ 152400 w 597694"/>
              <a:gd name="connsiteY6" fmla="*/ 261938 h 314325"/>
              <a:gd name="connsiteX7" fmla="*/ 0 w 597694"/>
              <a:gd name="connsiteY7" fmla="*/ 192882 h 314325"/>
              <a:gd name="connsiteX8" fmla="*/ 452438 w 597694"/>
              <a:gd name="connsiteY8" fmla="*/ 195263 h 314325"/>
              <a:gd name="connsiteX9" fmla="*/ 597694 w 597694"/>
              <a:gd name="connsiteY9" fmla="*/ 0 h 314325"/>
              <a:gd name="connsiteX0" fmla="*/ 597694 w 597694"/>
              <a:gd name="connsiteY0" fmla="*/ 0 h 314325"/>
              <a:gd name="connsiteX1" fmla="*/ 585788 w 597694"/>
              <a:gd name="connsiteY1" fmla="*/ 102394 h 314325"/>
              <a:gd name="connsiteX2" fmla="*/ 516731 w 597694"/>
              <a:gd name="connsiteY2" fmla="*/ 207169 h 314325"/>
              <a:gd name="connsiteX3" fmla="*/ 400050 w 597694"/>
              <a:gd name="connsiteY3" fmla="*/ 309563 h 314325"/>
              <a:gd name="connsiteX4" fmla="*/ 352425 w 597694"/>
              <a:gd name="connsiteY4" fmla="*/ 314325 h 314325"/>
              <a:gd name="connsiteX5" fmla="*/ 295276 w 597694"/>
              <a:gd name="connsiteY5" fmla="*/ 285750 h 314325"/>
              <a:gd name="connsiteX6" fmla="*/ 152400 w 597694"/>
              <a:gd name="connsiteY6" fmla="*/ 261938 h 314325"/>
              <a:gd name="connsiteX7" fmla="*/ 0 w 597694"/>
              <a:gd name="connsiteY7" fmla="*/ 192882 h 314325"/>
              <a:gd name="connsiteX8" fmla="*/ 452438 w 597694"/>
              <a:gd name="connsiteY8" fmla="*/ 195263 h 314325"/>
              <a:gd name="connsiteX9" fmla="*/ 597694 w 597694"/>
              <a:gd name="connsiteY9" fmla="*/ 0 h 314325"/>
              <a:gd name="connsiteX0" fmla="*/ 597694 w 597694"/>
              <a:gd name="connsiteY0" fmla="*/ 0 h 314325"/>
              <a:gd name="connsiteX1" fmla="*/ 585788 w 597694"/>
              <a:gd name="connsiteY1" fmla="*/ 102394 h 314325"/>
              <a:gd name="connsiteX2" fmla="*/ 516731 w 597694"/>
              <a:gd name="connsiteY2" fmla="*/ 207169 h 314325"/>
              <a:gd name="connsiteX3" fmla="*/ 400050 w 597694"/>
              <a:gd name="connsiteY3" fmla="*/ 309563 h 314325"/>
              <a:gd name="connsiteX4" fmla="*/ 352425 w 597694"/>
              <a:gd name="connsiteY4" fmla="*/ 314325 h 314325"/>
              <a:gd name="connsiteX5" fmla="*/ 295276 w 597694"/>
              <a:gd name="connsiteY5" fmla="*/ 285750 h 314325"/>
              <a:gd name="connsiteX6" fmla="*/ 152400 w 597694"/>
              <a:gd name="connsiteY6" fmla="*/ 261938 h 314325"/>
              <a:gd name="connsiteX7" fmla="*/ 0 w 597694"/>
              <a:gd name="connsiteY7" fmla="*/ 192882 h 314325"/>
              <a:gd name="connsiteX8" fmla="*/ 452438 w 597694"/>
              <a:gd name="connsiteY8" fmla="*/ 195263 h 314325"/>
              <a:gd name="connsiteX9" fmla="*/ 545306 w 597694"/>
              <a:gd name="connsiteY9" fmla="*/ 61913 h 314325"/>
              <a:gd name="connsiteX10" fmla="*/ 597694 w 597694"/>
              <a:gd name="connsiteY10" fmla="*/ 0 h 314325"/>
              <a:gd name="connsiteX0" fmla="*/ 597694 w 597694"/>
              <a:gd name="connsiteY0" fmla="*/ 0 h 314325"/>
              <a:gd name="connsiteX1" fmla="*/ 585788 w 597694"/>
              <a:gd name="connsiteY1" fmla="*/ 102394 h 314325"/>
              <a:gd name="connsiteX2" fmla="*/ 516731 w 597694"/>
              <a:gd name="connsiteY2" fmla="*/ 207169 h 314325"/>
              <a:gd name="connsiteX3" fmla="*/ 400050 w 597694"/>
              <a:gd name="connsiteY3" fmla="*/ 309563 h 314325"/>
              <a:gd name="connsiteX4" fmla="*/ 352425 w 597694"/>
              <a:gd name="connsiteY4" fmla="*/ 314325 h 314325"/>
              <a:gd name="connsiteX5" fmla="*/ 295276 w 597694"/>
              <a:gd name="connsiteY5" fmla="*/ 285750 h 314325"/>
              <a:gd name="connsiteX6" fmla="*/ 152400 w 597694"/>
              <a:gd name="connsiteY6" fmla="*/ 261938 h 314325"/>
              <a:gd name="connsiteX7" fmla="*/ 0 w 597694"/>
              <a:gd name="connsiteY7" fmla="*/ 192882 h 314325"/>
              <a:gd name="connsiteX8" fmla="*/ 452438 w 597694"/>
              <a:gd name="connsiteY8" fmla="*/ 195263 h 314325"/>
              <a:gd name="connsiteX9" fmla="*/ 533400 w 597694"/>
              <a:gd name="connsiteY9" fmla="*/ 2381 h 314325"/>
              <a:gd name="connsiteX10" fmla="*/ 597694 w 597694"/>
              <a:gd name="connsiteY10" fmla="*/ 0 h 314325"/>
              <a:gd name="connsiteX0" fmla="*/ 597694 w 597694"/>
              <a:gd name="connsiteY0" fmla="*/ 0 h 314325"/>
              <a:gd name="connsiteX1" fmla="*/ 585788 w 597694"/>
              <a:gd name="connsiteY1" fmla="*/ 102394 h 314325"/>
              <a:gd name="connsiteX2" fmla="*/ 516731 w 597694"/>
              <a:gd name="connsiteY2" fmla="*/ 207169 h 314325"/>
              <a:gd name="connsiteX3" fmla="*/ 400050 w 597694"/>
              <a:gd name="connsiteY3" fmla="*/ 309563 h 314325"/>
              <a:gd name="connsiteX4" fmla="*/ 352425 w 597694"/>
              <a:gd name="connsiteY4" fmla="*/ 314325 h 314325"/>
              <a:gd name="connsiteX5" fmla="*/ 295276 w 597694"/>
              <a:gd name="connsiteY5" fmla="*/ 285750 h 314325"/>
              <a:gd name="connsiteX6" fmla="*/ 152400 w 597694"/>
              <a:gd name="connsiteY6" fmla="*/ 261938 h 314325"/>
              <a:gd name="connsiteX7" fmla="*/ 0 w 597694"/>
              <a:gd name="connsiteY7" fmla="*/ 192882 h 314325"/>
              <a:gd name="connsiteX8" fmla="*/ 452438 w 597694"/>
              <a:gd name="connsiteY8" fmla="*/ 195263 h 314325"/>
              <a:gd name="connsiteX9" fmla="*/ 597694 w 597694"/>
              <a:gd name="connsiteY9" fmla="*/ 0 h 314325"/>
              <a:gd name="connsiteX0" fmla="*/ 452438 w 585788"/>
              <a:gd name="connsiteY0" fmla="*/ 92869 h 211931"/>
              <a:gd name="connsiteX1" fmla="*/ 585788 w 585788"/>
              <a:gd name="connsiteY1" fmla="*/ 0 h 211931"/>
              <a:gd name="connsiteX2" fmla="*/ 516731 w 585788"/>
              <a:gd name="connsiteY2" fmla="*/ 104775 h 211931"/>
              <a:gd name="connsiteX3" fmla="*/ 400050 w 585788"/>
              <a:gd name="connsiteY3" fmla="*/ 207169 h 211931"/>
              <a:gd name="connsiteX4" fmla="*/ 352425 w 585788"/>
              <a:gd name="connsiteY4" fmla="*/ 211931 h 211931"/>
              <a:gd name="connsiteX5" fmla="*/ 295276 w 585788"/>
              <a:gd name="connsiteY5" fmla="*/ 183356 h 211931"/>
              <a:gd name="connsiteX6" fmla="*/ 152400 w 585788"/>
              <a:gd name="connsiteY6" fmla="*/ 159544 h 211931"/>
              <a:gd name="connsiteX7" fmla="*/ 0 w 585788"/>
              <a:gd name="connsiteY7" fmla="*/ 90488 h 211931"/>
              <a:gd name="connsiteX8" fmla="*/ 452438 w 585788"/>
              <a:gd name="connsiteY8" fmla="*/ 92869 h 211931"/>
              <a:gd name="connsiteX0" fmla="*/ 452438 w 516731"/>
              <a:gd name="connsiteY0" fmla="*/ 2381 h 121443"/>
              <a:gd name="connsiteX1" fmla="*/ 516731 w 516731"/>
              <a:gd name="connsiteY1" fmla="*/ 14287 h 121443"/>
              <a:gd name="connsiteX2" fmla="*/ 400050 w 516731"/>
              <a:gd name="connsiteY2" fmla="*/ 116681 h 121443"/>
              <a:gd name="connsiteX3" fmla="*/ 352425 w 516731"/>
              <a:gd name="connsiteY3" fmla="*/ 121443 h 121443"/>
              <a:gd name="connsiteX4" fmla="*/ 295276 w 516731"/>
              <a:gd name="connsiteY4" fmla="*/ 92868 h 121443"/>
              <a:gd name="connsiteX5" fmla="*/ 152400 w 516731"/>
              <a:gd name="connsiteY5" fmla="*/ 69056 h 121443"/>
              <a:gd name="connsiteX6" fmla="*/ 0 w 516731"/>
              <a:gd name="connsiteY6" fmla="*/ 0 h 121443"/>
              <a:gd name="connsiteX7" fmla="*/ 452438 w 516731"/>
              <a:gd name="connsiteY7" fmla="*/ 2381 h 121443"/>
              <a:gd name="connsiteX0" fmla="*/ 452438 w 533400"/>
              <a:gd name="connsiteY0" fmla="*/ 2381 h 121443"/>
              <a:gd name="connsiteX1" fmla="*/ 533400 w 533400"/>
              <a:gd name="connsiteY1" fmla="*/ 4762 h 121443"/>
              <a:gd name="connsiteX2" fmla="*/ 400050 w 533400"/>
              <a:gd name="connsiteY2" fmla="*/ 116681 h 121443"/>
              <a:gd name="connsiteX3" fmla="*/ 352425 w 533400"/>
              <a:gd name="connsiteY3" fmla="*/ 121443 h 121443"/>
              <a:gd name="connsiteX4" fmla="*/ 295276 w 533400"/>
              <a:gd name="connsiteY4" fmla="*/ 92868 h 121443"/>
              <a:gd name="connsiteX5" fmla="*/ 152400 w 533400"/>
              <a:gd name="connsiteY5" fmla="*/ 69056 h 121443"/>
              <a:gd name="connsiteX6" fmla="*/ 0 w 533400"/>
              <a:gd name="connsiteY6" fmla="*/ 0 h 121443"/>
              <a:gd name="connsiteX7" fmla="*/ 452438 w 533400"/>
              <a:gd name="connsiteY7" fmla="*/ 2381 h 121443"/>
              <a:gd name="connsiteX0" fmla="*/ 452438 w 533400"/>
              <a:gd name="connsiteY0" fmla="*/ 2381 h 121443"/>
              <a:gd name="connsiteX1" fmla="*/ 533400 w 533400"/>
              <a:gd name="connsiteY1" fmla="*/ 4762 h 121443"/>
              <a:gd name="connsiteX2" fmla="*/ 400050 w 533400"/>
              <a:gd name="connsiteY2" fmla="*/ 116681 h 121443"/>
              <a:gd name="connsiteX3" fmla="*/ 352425 w 533400"/>
              <a:gd name="connsiteY3" fmla="*/ 121443 h 121443"/>
              <a:gd name="connsiteX4" fmla="*/ 250032 w 533400"/>
              <a:gd name="connsiteY4" fmla="*/ 95249 h 121443"/>
              <a:gd name="connsiteX5" fmla="*/ 152400 w 533400"/>
              <a:gd name="connsiteY5" fmla="*/ 69056 h 121443"/>
              <a:gd name="connsiteX6" fmla="*/ 0 w 533400"/>
              <a:gd name="connsiteY6" fmla="*/ 0 h 121443"/>
              <a:gd name="connsiteX7" fmla="*/ 452438 w 533400"/>
              <a:gd name="connsiteY7" fmla="*/ 2381 h 121443"/>
              <a:gd name="connsiteX0" fmla="*/ 0 w 533400"/>
              <a:gd name="connsiteY0" fmla="*/ 0 h 121443"/>
              <a:gd name="connsiteX1" fmla="*/ 533400 w 533400"/>
              <a:gd name="connsiteY1" fmla="*/ 4762 h 121443"/>
              <a:gd name="connsiteX2" fmla="*/ 400050 w 533400"/>
              <a:gd name="connsiteY2" fmla="*/ 116681 h 121443"/>
              <a:gd name="connsiteX3" fmla="*/ 352425 w 533400"/>
              <a:gd name="connsiteY3" fmla="*/ 121443 h 121443"/>
              <a:gd name="connsiteX4" fmla="*/ 250032 w 533400"/>
              <a:gd name="connsiteY4" fmla="*/ 95249 h 121443"/>
              <a:gd name="connsiteX5" fmla="*/ 152400 w 533400"/>
              <a:gd name="connsiteY5" fmla="*/ 69056 h 121443"/>
              <a:gd name="connsiteX6" fmla="*/ 0 w 533400"/>
              <a:gd name="connsiteY6" fmla="*/ 0 h 121443"/>
              <a:gd name="connsiteX0" fmla="*/ 0 w 528638"/>
              <a:gd name="connsiteY0" fmla="*/ 1 h 116681"/>
              <a:gd name="connsiteX1" fmla="*/ 528638 w 528638"/>
              <a:gd name="connsiteY1" fmla="*/ 0 h 116681"/>
              <a:gd name="connsiteX2" fmla="*/ 395288 w 528638"/>
              <a:gd name="connsiteY2" fmla="*/ 111919 h 116681"/>
              <a:gd name="connsiteX3" fmla="*/ 347663 w 528638"/>
              <a:gd name="connsiteY3" fmla="*/ 116681 h 116681"/>
              <a:gd name="connsiteX4" fmla="*/ 245270 w 528638"/>
              <a:gd name="connsiteY4" fmla="*/ 90487 h 116681"/>
              <a:gd name="connsiteX5" fmla="*/ 147638 w 528638"/>
              <a:gd name="connsiteY5" fmla="*/ 64294 h 116681"/>
              <a:gd name="connsiteX6" fmla="*/ 0 w 528638"/>
              <a:gd name="connsiteY6" fmla="*/ 1 h 116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28638" h="116681">
                <a:moveTo>
                  <a:pt x="0" y="1"/>
                </a:moveTo>
                <a:lnTo>
                  <a:pt x="528638" y="0"/>
                </a:lnTo>
                <a:lnTo>
                  <a:pt x="395288" y="111919"/>
                </a:lnTo>
                <a:lnTo>
                  <a:pt x="347663" y="116681"/>
                </a:lnTo>
                <a:lnTo>
                  <a:pt x="245270" y="90487"/>
                </a:lnTo>
                <a:lnTo>
                  <a:pt x="147638" y="64294"/>
                </a:lnTo>
                <a:lnTo>
                  <a:pt x="0" y="1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</a:endParaRPr>
          </a:p>
        </p:txBody>
      </p:sp>
      <p:sp>
        <p:nvSpPr>
          <p:cNvPr id="170" name="Rounded Rectangle 169"/>
          <p:cNvSpPr/>
          <p:nvPr/>
        </p:nvSpPr>
        <p:spPr>
          <a:xfrm>
            <a:off x="4023254" y="2514600"/>
            <a:ext cx="3947019" cy="457200"/>
          </a:xfrm>
          <a:prstGeom prst="roundRect">
            <a:avLst/>
          </a:pr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mr-IN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कमी खर्चात स्वच्छता व देखभाल </a:t>
            </a:r>
            <a:endParaRPr lang="en-US" sz="16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638800" y="4136932"/>
            <a:ext cx="2331471" cy="457200"/>
          </a:xfrm>
          <a:prstGeom prst="roundRect">
            <a:avLst/>
          </a:pr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mr-IN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ाबण व अन्य डिटर्जंटवर देखील प्रक्रिया शक्य</a:t>
            </a:r>
            <a:endParaRPr lang="en-US" sz="16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716648" y="4629226"/>
            <a:ext cx="15969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mr-IN" sz="16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ायुवीजनाची सोय</a:t>
            </a:r>
            <a:endParaRPr lang="en-US" sz="16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1" name="Rectangle 170"/>
          <p:cNvSpPr/>
          <p:nvPr/>
        </p:nvSpPr>
        <p:spPr>
          <a:xfrm>
            <a:off x="166844" y="6629400"/>
            <a:ext cx="91295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1000" dirty="0" smtClean="0">
                <a:solidFill>
                  <a:srgbClr val="0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त्रोत: महाराष्ट्रातील नगर पंचायत व नगर परिषद – विकास नियंत्रण व प्रसार</a:t>
            </a:r>
            <a:endParaRPr lang="en-US" sz="1000" dirty="0">
              <a:solidFill>
                <a:srgbClr val="0000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52586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1" y="390653"/>
            <a:ext cx="9144000" cy="6467347"/>
            <a:chOff x="163847" y="0"/>
            <a:chExt cx="9132553" cy="6856835"/>
          </a:xfrm>
        </p:grpSpPr>
        <p:pic>
          <p:nvPicPr>
            <p:cNvPr id="6" name="Picture 10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052483" y="2646478"/>
              <a:ext cx="3050074" cy="28883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7" name="Group 6"/>
            <p:cNvGrpSpPr/>
            <p:nvPr/>
          </p:nvGrpSpPr>
          <p:grpSpPr>
            <a:xfrm>
              <a:off x="196483" y="5446987"/>
              <a:ext cx="4223117" cy="1409848"/>
              <a:chOff x="617356" y="10058400"/>
              <a:chExt cx="8090253" cy="2682315"/>
            </a:xfrm>
          </p:grpSpPr>
          <p:sp>
            <p:nvSpPr>
              <p:cNvPr id="107" name="Rectangle 106"/>
              <p:cNvSpPr/>
              <p:nvPr/>
            </p:nvSpPr>
            <p:spPr>
              <a:xfrm>
                <a:off x="617356" y="11995723"/>
                <a:ext cx="3816829" cy="744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mr-IN" sz="600" b="1" dirty="0" smtClean="0">
                    <a:solidFill>
                      <a:prstClr val="black"/>
                    </a:solidFill>
                  </a:rPr>
                  <a:t>सेप्टीक टाकीचे आकारमान: </a:t>
                </a:r>
              </a:p>
              <a:p>
                <a:pPr marL="81119" indent="-81119"/>
                <a:r>
                  <a:rPr lang="en-US" sz="600" dirty="0" smtClean="0">
                    <a:solidFill>
                      <a:prstClr val="black"/>
                    </a:solidFill>
                  </a:rPr>
                  <a:t>-  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सेप्टीक टाकीची किमान रुंदी 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0.75 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मी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. (2’5”) 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व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 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टाकीची लांबी ही रुंदीच्या 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2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 ते 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4 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पट असावी.</a:t>
                </a:r>
              </a:p>
            </p:txBody>
          </p:sp>
          <p:sp>
            <p:nvSpPr>
              <p:cNvPr id="108" name="Rectangle 107"/>
              <p:cNvSpPr/>
              <p:nvPr/>
            </p:nvSpPr>
            <p:spPr>
              <a:xfrm>
                <a:off x="4034086" y="11995723"/>
                <a:ext cx="4673523" cy="7449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mr-IN" sz="600" b="1" dirty="0" smtClean="0">
                    <a:solidFill>
                      <a:prstClr val="black"/>
                    </a:solidFill>
                  </a:rPr>
                  <a:t>तपशील -</a:t>
                </a:r>
                <a:endParaRPr lang="en-US" sz="600" b="1" dirty="0" smtClean="0">
                  <a:solidFill>
                    <a:prstClr val="black"/>
                  </a:solidFill>
                </a:endParaRPr>
              </a:p>
              <a:p>
                <a:r>
                  <a:rPr lang="mr-IN" sz="600" dirty="0" smtClean="0">
                    <a:solidFill>
                      <a:prstClr val="black"/>
                    </a:solidFill>
                  </a:rPr>
                  <a:t>- टाकी मधील पण्याची पातळी किमान 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1.0 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मी.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 (3’3”)</a:t>
                </a:r>
                <a:endParaRPr lang="mr-IN" sz="600" dirty="0" smtClean="0">
                  <a:solidFill>
                    <a:prstClr val="black"/>
                  </a:solidFill>
                </a:endParaRPr>
              </a:p>
              <a:p>
                <a:pPr marL="167871" indent="-167871"/>
                <a:r>
                  <a:rPr lang="mr-IN" sz="600" dirty="0" smtClean="0">
                    <a:solidFill>
                      <a:prstClr val="black"/>
                    </a:solidFill>
                  </a:rPr>
                  <a:t>- पाण्याच्या पातळीवरील मोकळी जागा किमान 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0.3 </a:t>
                </a:r>
                <a:r>
                  <a:rPr lang="mr-IN" sz="600" dirty="0" smtClean="0">
                    <a:solidFill>
                      <a:prstClr val="black"/>
                    </a:solidFill>
                  </a:rPr>
                  <a:t>मी.</a:t>
                </a:r>
                <a:r>
                  <a:rPr lang="en-US" sz="600" dirty="0" smtClean="0">
                    <a:solidFill>
                      <a:prstClr val="black"/>
                    </a:solidFill>
                  </a:rPr>
                  <a:t> (1’0”)</a:t>
                </a:r>
                <a:endParaRPr lang="mr-IN" sz="600" dirty="0" smtClean="0">
                  <a:solidFill>
                    <a:prstClr val="black"/>
                  </a:solidFill>
                </a:endParaRPr>
              </a:p>
            </p:txBody>
          </p:sp>
          <p:pic>
            <p:nvPicPr>
              <p:cNvPr id="109" name="Picture 3" descr="C:\Users\pc\Desktop\1.png"/>
              <p:cNvPicPr>
                <a:picLocks noChangeAspect="1" noChangeArrowheads="1"/>
              </p:cNvPicPr>
              <p:nvPr/>
            </p:nvPicPr>
            <p:blipFill>
              <a:blip r:embed="rId4"/>
              <a:srcRect t="27522" b="32709"/>
              <a:stretch>
                <a:fillRect/>
              </a:stretch>
            </p:blipFill>
            <p:spPr bwMode="auto">
              <a:xfrm>
                <a:off x="1836737" y="10058400"/>
                <a:ext cx="6229350" cy="1752600"/>
              </a:xfrm>
              <a:prstGeom prst="rect">
                <a:avLst/>
              </a:prstGeom>
              <a:noFill/>
            </p:spPr>
          </p:pic>
          <p:sp>
            <p:nvSpPr>
              <p:cNvPr id="110" name="TextBox 109"/>
              <p:cNvSpPr txBox="1"/>
              <p:nvPr/>
            </p:nvSpPr>
            <p:spPr>
              <a:xfrm>
                <a:off x="2689266" y="11188697"/>
                <a:ext cx="875179" cy="9661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mr-IN" sz="9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2अ – 4अ</a:t>
                </a:r>
                <a:endParaRPr lang="en-US" sz="9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 rot="16200000">
                <a:off x="1472454" y="10278403"/>
                <a:ext cx="875180" cy="5748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mr-IN" sz="9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अ</a:t>
                </a:r>
                <a:endParaRPr lang="en-US" sz="9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4741901" y="10210796"/>
                <a:ext cx="1453142" cy="38061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जमिनीची पातळी</a:t>
                </a:r>
                <a:endParaRPr lang="en-US" sz="7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>
              <a:xfrm>
                <a:off x="7180300" y="11506195"/>
                <a:ext cx="1407079" cy="3806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</a:rPr>
                  <a:t>पण्याची पातळी</a:t>
                </a:r>
                <a:endParaRPr lang="en-US" sz="7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4" name="Rectangle 113"/>
              <p:cNvSpPr/>
              <p:nvPr/>
            </p:nvSpPr>
            <p:spPr>
              <a:xfrm>
                <a:off x="7046991" y="10134595"/>
                <a:ext cx="1407079" cy="38061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</a:rPr>
                  <a:t>पण्याची पातळी</a:t>
                </a:r>
                <a:endParaRPr lang="en-US" sz="7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5" name="TextBox 114"/>
              <p:cNvSpPr txBox="1"/>
              <p:nvPr/>
            </p:nvSpPr>
            <p:spPr>
              <a:xfrm>
                <a:off x="1036657" y="11048994"/>
                <a:ext cx="1352550" cy="7026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mr-IN" sz="12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प्लॅन</a:t>
                </a:r>
                <a:endParaRPr lang="en-US" sz="1200" b="1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6" name="TextBox 115"/>
              <p:cNvSpPr txBox="1"/>
              <p:nvPr/>
            </p:nvSpPr>
            <p:spPr>
              <a:xfrm>
                <a:off x="5027611" y="11048994"/>
                <a:ext cx="1295400" cy="70267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mr-IN" sz="12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सेक्शन</a:t>
                </a:r>
                <a:endParaRPr lang="en-US" sz="1200" b="1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graphicFrame>
          <p:nvGraphicFramePr>
            <p:cNvPr id="8" name="Object 7"/>
            <p:cNvGraphicFramePr>
              <a:graphicFrameLocks noChangeAspect="1"/>
            </p:cNvGraphicFramePr>
            <p:nvPr>
              <p:extLst/>
            </p:nvPr>
          </p:nvGraphicFramePr>
          <p:xfrm>
            <a:off x="516725" y="0"/>
            <a:ext cx="3871242" cy="2676381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9521" name="Acrobat Document" r:id="rId5" imgW="8019048" imgH="5668166" progId="AcroExch.Document.11">
                    <p:embed/>
                  </p:oleObj>
                </mc:Choice>
                <mc:Fallback>
                  <p:oleObj name="Acrobat Document" r:id="rId5" imgW="8019048" imgH="5668166" progId="AcroExch.Document.11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16725" y="0"/>
                          <a:ext cx="3871242" cy="2676381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" name="TextBox 8"/>
            <p:cNvSpPr txBox="1"/>
            <p:nvPr/>
          </p:nvSpPr>
          <p:spPr>
            <a:xfrm>
              <a:off x="515467" y="734277"/>
              <a:ext cx="842229" cy="688775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mr-IN" sz="9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किमान </a:t>
              </a:r>
              <a:r>
                <a:rPr lang="en-US" sz="9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0.15 (6”) </a:t>
              </a:r>
              <a:r>
                <a:rPr lang="mr-IN" sz="9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मी. जाडीची भिंत</a:t>
              </a:r>
              <a:endParaRPr lang="en-US" sz="9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46205" y="1463645"/>
              <a:ext cx="761884" cy="273277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 algn="r">
                <a:lnSpc>
                  <a:spcPct val="150000"/>
                </a:lnSpc>
              </a:pPr>
              <a:r>
                <a:rPr lang="mr-IN" sz="9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बँफल</a:t>
              </a:r>
              <a:endParaRPr lang="en-US" sz="900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78883" y="2202832"/>
              <a:ext cx="3502330" cy="173250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endParaRPr lang="en-US" sz="7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621958" y="334547"/>
              <a:ext cx="641587" cy="481026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mr-IN" sz="9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सेप्टिक टाकी</a:t>
              </a:r>
              <a:endParaRPr lang="en-US" sz="9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654439" y="320411"/>
              <a:ext cx="681686" cy="280971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 algn="ctr"/>
              <a:r>
                <a:rPr lang="mr-IN" sz="14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प्लॅन</a:t>
              </a:r>
              <a:endParaRPr lang="en-US" sz="14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2544239" y="334547"/>
              <a:ext cx="563800" cy="289735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mr-IN" sz="9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शौचालय</a:t>
              </a:r>
              <a:endParaRPr lang="en-US" sz="9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rot="5400000">
              <a:off x="1629112" y="856860"/>
              <a:ext cx="627277" cy="83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rot="5400000">
              <a:off x="2471613" y="856860"/>
              <a:ext cx="627277" cy="835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3476545" y="625269"/>
              <a:ext cx="441090" cy="227110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7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 (6”)</a:t>
              </a:r>
              <a:endParaRPr lang="en-US" sz="700" dirty="0">
                <a:solidFill>
                  <a:prstClr val="black">
                    <a:lumMod val="65000"/>
                    <a:lumOff val="3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791517" y="1843496"/>
              <a:ext cx="441090" cy="227110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7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3’</a:t>
              </a:r>
              <a:endParaRPr lang="en-US" sz="700" dirty="0">
                <a:solidFill>
                  <a:prstClr val="black">
                    <a:lumMod val="65000"/>
                    <a:lumOff val="3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 rot="16200000">
              <a:off x="2120428" y="875411"/>
              <a:ext cx="460003" cy="227110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7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(4’)</a:t>
              </a:r>
              <a:endParaRPr lang="en-US" sz="700" dirty="0">
                <a:solidFill>
                  <a:prstClr val="black">
                    <a:lumMod val="65000"/>
                    <a:lumOff val="3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20" name="Group 47"/>
            <p:cNvGrpSpPr/>
            <p:nvPr/>
          </p:nvGrpSpPr>
          <p:grpSpPr>
            <a:xfrm>
              <a:off x="163847" y="2542016"/>
              <a:ext cx="4651555" cy="2815462"/>
              <a:chOff x="273181" y="6704462"/>
              <a:chExt cx="9272076" cy="5381407"/>
            </a:xfrm>
          </p:grpSpPr>
          <p:sp>
            <p:nvSpPr>
              <p:cNvPr id="91" name="TextBox 3"/>
              <p:cNvSpPr txBox="1"/>
              <p:nvPr/>
            </p:nvSpPr>
            <p:spPr>
              <a:xfrm>
                <a:off x="6804969" y="11497591"/>
                <a:ext cx="2740288" cy="5882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किमान 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0.15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ी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. (6") </a:t>
                </a:r>
              </a:p>
              <a:p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जाडीची भिंत</a:t>
                </a:r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3578962" y="6704462"/>
                <a:ext cx="578990" cy="38238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पत्रे</a:t>
                </a:r>
                <a:endParaRPr lang="en-US" sz="7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>
                <a:off x="1991215" y="7058541"/>
                <a:ext cx="2230965" cy="38238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1:3:6 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सिमेंट कॉंन्क्रीटचा थर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endParaRPr lang="en-US" sz="7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>
                <a:off x="570500" y="7324392"/>
                <a:ext cx="3828205" cy="11030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खिडकीचे क्षेत्रफळ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0.30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चौ.मी.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(3.2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चौ. फूट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)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आवश्यक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व एका बाजूचे माप किमान 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0.30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ी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. (1’0”)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आवश्यक</a:t>
                </a:r>
              </a:p>
            </p:txBody>
          </p:sp>
          <p:sp>
            <p:nvSpPr>
              <p:cNvPr id="95" name="TextBox 94"/>
              <p:cNvSpPr txBox="1"/>
              <p:nvPr/>
            </p:nvSpPr>
            <p:spPr>
              <a:xfrm>
                <a:off x="273181" y="8049582"/>
                <a:ext cx="3020106" cy="3823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किमान 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0.15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ी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. (6”) 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जाडीची भिंत</a:t>
                </a: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35056" y="8655282"/>
                <a:ext cx="3192684" cy="3823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व्हेंटिलेशन पाईप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</a:p>
            </p:txBody>
          </p:sp>
          <p:sp>
            <p:nvSpPr>
              <p:cNvPr id="97" name="Rectangle 96"/>
              <p:cNvSpPr/>
              <p:nvPr/>
            </p:nvSpPr>
            <p:spPr>
              <a:xfrm>
                <a:off x="1482284" y="8962125"/>
                <a:ext cx="2694286" cy="29413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r"/>
                <a:r>
                  <a:rPr lang="mr-IN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(किमान </a:t>
                </a:r>
                <a:r>
                  <a:rPr lang="en-US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50</a:t>
                </a:r>
                <a:r>
                  <a:rPr lang="mr-IN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िमी</a:t>
                </a:r>
                <a:r>
                  <a:rPr lang="en-US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. (2”) </a:t>
                </a:r>
                <a:r>
                  <a:rPr lang="mr-IN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व्यास</a:t>
                </a:r>
                <a:r>
                  <a:rPr lang="en-US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r>
                  <a:rPr lang="mr-IN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व किमान </a:t>
                </a:r>
                <a:r>
                  <a:rPr lang="en-US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2.0</a:t>
                </a:r>
                <a:r>
                  <a:rPr lang="mr-IN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ी.</a:t>
                </a:r>
                <a:r>
                  <a:rPr lang="en-US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(6’6”)</a:t>
                </a:r>
                <a:r>
                  <a:rPr lang="mr-IN" sz="400" i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उंची) </a:t>
                </a: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1735622" y="9650819"/>
                <a:ext cx="2041710" cy="3823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फरशी कामाची लेवल</a:t>
                </a:r>
                <a:endParaRPr lang="en-US" sz="7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1745702" y="9953079"/>
                <a:ext cx="1065902" cy="38238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झाकण</a:t>
                </a:r>
                <a:endParaRPr lang="en-US" sz="7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0" name="TextBox 99"/>
              <p:cNvSpPr txBox="1"/>
              <p:nvPr/>
            </p:nvSpPr>
            <p:spPr>
              <a:xfrm>
                <a:off x="744041" y="10866019"/>
                <a:ext cx="2290840" cy="11030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>
                  <a:lnSpc>
                    <a:spcPct val="150000"/>
                  </a:lnSpc>
                </a:pP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शोषखड्डा/बंद गटारीस जोडणारा पाईप किमान 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100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िमी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.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(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4”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) व्यासाचा पाईप</a:t>
                </a:r>
                <a:endParaRPr lang="en-US" sz="7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1" name="TextBox 100"/>
              <p:cNvSpPr txBox="1"/>
              <p:nvPr/>
            </p:nvSpPr>
            <p:spPr>
              <a:xfrm>
                <a:off x="6567765" y="7665267"/>
                <a:ext cx="1780427" cy="3823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सिमेंट कॉन्क्रीटचा थर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endParaRPr lang="en-US" sz="7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2" name="TextBox 101"/>
              <p:cNvSpPr txBox="1"/>
              <p:nvPr/>
            </p:nvSpPr>
            <p:spPr>
              <a:xfrm>
                <a:off x="6569537" y="7992896"/>
                <a:ext cx="2199014" cy="79417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दरवाजा:</a:t>
                </a:r>
                <a:endParaRPr lang="en-US" sz="700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  <a:p>
                <a:pPr>
                  <a:lnSpc>
                    <a:spcPct val="150000"/>
                  </a:lnSpc>
                </a:pP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किमान उंची 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2.1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ी.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(7’0”)</a:t>
                </a:r>
              </a:p>
            </p:txBody>
          </p:sp>
          <p:sp>
            <p:nvSpPr>
              <p:cNvPr id="103" name="TextBox 102"/>
              <p:cNvSpPr txBox="1"/>
              <p:nvPr/>
            </p:nvSpPr>
            <p:spPr>
              <a:xfrm>
                <a:off x="7170952" y="9517865"/>
                <a:ext cx="1224444" cy="3823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संडासचे भांडे</a:t>
                </a:r>
                <a:endParaRPr lang="en-US" sz="7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4" name="TextBox 103"/>
              <p:cNvSpPr txBox="1"/>
              <p:nvPr/>
            </p:nvSpPr>
            <p:spPr>
              <a:xfrm>
                <a:off x="7145254" y="9898861"/>
                <a:ext cx="1512021" cy="38238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जमिनीची पातळी</a:t>
                </a:r>
                <a:endParaRPr lang="en-US" sz="7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6812055" y="10972098"/>
                <a:ext cx="2070929" cy="5882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किमान 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100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मिमी.</a:t>
                </a:r>
                <a:r>
                  <a:rPr lang="en-US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(4”)</a:t>
                </a:r>
                <a:r>
                  <a:rPr lang="mr-IN" sz="7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व्यासाचा इनलेट पाईप</a:t>
                </a:r>
                <a:endParaRPr lang="en-US" sz="700" dirty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4593116" y="11393388"/>
                <a:ext cx="1184860" cy="38238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mr-IN" sz="7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सेप्टिक टाकी</a:t>
                </a:r>
              </a:p>
            </p:txBody>
          </p:sp>
        </p:grpSp>
        <p:sp>
          <p:nvSpPr>
            <p:cNvPr id="21" name="TextBox 20"/>
            <p:cNvSpPr txBox="1"/>
            <p:nvPr/>
          </p:nvSpPr>
          <p:spPr>
            <a:xfrm rot="16200000">
              <a:off x="2535865" y="3801744"/>
              <a:ext cx="440566" cy="157861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(4’)</a:t>
              </a:r>
              <a:endParaRPr lang="en-US" sz="400" dirty="0">
                <a:solidFill>
                  <a:prstClr val="black">
                    <a:lumMod val="65000"/>
                    <a:lumOff val="3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 rot="16200000">
              <a:off x="2875107" y="3611499"/>
              <a:ext cx="440566" cy="157861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4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(7’)</a:t>
              </a:r>
              <a:endParaRPr lang="en-US" sz="400" dirty="0">
                <a:solidFill>
                  <a:prstClr val="black">
                    <a:lumMod val="65000"/>
                    <a:lumOff val="3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 rot="16200000">
              <a:off x="1876799" y="4375677"/>
              <a:ext cx="440566" cy="134777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3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(1’)</a:t>
              </a:r>
              <a:endParaRPr lang="en-US" sz="300" dirty="0">
                <a:solidFill>
                  <a:prstClr val="black">
                    <a:lumMod val="65000"/>
                    <a:lumOff val="3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 rot="16200000">
              <a:off x="1992013" y="4696088"/>
              <a:ext cx="440566" cy="134777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30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3’3”</a:t>
              </a:r>
              <a:endParaRPr lang="en-US" sz="300" dirty="0">
                <a:solidFill>
                  <a:prstClr val="black">
                    <a:lumMod val="65000"/>
                    <a:lumOff val="35000"/>
                  </a:prstClr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>
              <a:off x="256256" y="2500568"/>
              <a:ext cx="40233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/>
            <p:cNvSpPr txBox="1"/>
            <p:nvPr/>
          </p:nvSpPr>
          <p:spPr>
            <a:xfrm>
              <a:off x="253633" y="64289"/>
              <a:ext cx="3432639" cy="3050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64895" tIns="32447" rIns="64895" bIns="32447" rtlCol="0" anchor="t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mr-IN" sz="1050" b="1" dirty="0" smtClean="0"/>
                <a:t>पर्याय -1  शौचालयाखाली असणारी सेप्टिक टाकी </a:t>
              </a:r>
              <a:endParaRPr lang="en-US" sz="1050" b="1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253633" y="317420"/>
              <a:ext cx="4033619" cy="6461527"/>
            </a:xfrm>
            <a:prstGeom prst="rect">
              <a:avLst/>
            </a:prstGeom>
            <a:noFill/>
            <a:ln w="63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4895" tIns="32447" rIns="64895" bIns="32447" rtlCol="0" anchor="ctr"/>
            <a:lstStyle/>
            <a:p>
              <a:pPr algn="ctr"/>
              <a:endParaRPr lang="en-US" sz="1200">
                <a:solidFill>
                  <a:prstClr val="black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1077660" y="2620722"/>
              <a:ext cx="652883" cy="8010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4895" tIns="32447" rIns="64895" bIns="32447" rtlCol="0" anchor="ctr"/>
            <a:lstStyle/>
            <a:p>
              <a:pPr algn="ctr"/>
              <a:endParaRPr lang="en-US" sz="1200">
                <a:solidFill>
                  <a:prstClr val="white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606433" y="2500568"/>
              <a:ext cx="652883" cy="280971"/>
            </a:xfrm>
            <a:prstGeom prst="rect">
              <a:avLst/>
            </a:prstGeom>
            <a:noFill/>
          </p:spPr>
          <p:txBody>
            <a:bodyPr wrap="square" lIns="64895" tIns="32447" rIns="64895" bIns="32447" rtlCol="0">
              <a:spAutoFit/>
            </a:bodyPr>
            <a:lstStyle/>
            <a:p>
              <a:pPr algn="ctr"/>
              <a:r>
                <a:rPr lang="mr-IN" sz="14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सेक्शन</a:t>
              </a:r>
              <a:endParaRPr lang="en-US" sz="1400" b="1" dirty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253633" y="1925474"/>
              <a:ext cx="4044749" cy="493680"/>
            </a:xfrm>
            <a:prstGeom prst="rect">
              <a:avLst/>
            </a:prstGeom>
          </p:spPr>
          <p:txBody>
            <a:bodyPr wrap="square" lIns="64895" tIns="32447" rIns="64895" bIns="32447">
              <a:spAutoFit/>
            </a:bodyPr>
            <a:lstStyle/>
            <a:p>
              <a:r>
                <a:rPr lang="mr-IN" sz="800" b="1" u="sng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टिप: </a:t>
              </a:r>
              <a:endParaRPr lang="en-US" sz="800" b="1" u="sng" dirty="0" smtClean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  <a:p>
              <a:pPr marL="81119" indent="-81119">
                <a:buFontTx/>
                <a:buChar char="-"/>
              </a:pPr>
              <a:r>
                <a: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mr-IN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सेप्टिक टाकी मधील किमान एक चेंबर उघड्या जागेवर / कोणत्याही बांधकामाखाली नसावे. सेप्टिक टाकीची नियमित स्वच्छता करण्याकरिता टाकीला झाकणासहित दारे असावीत </a:t>
              </a:r>
              <a:endParaRPr lang="en-US" sz="600" b="1" dirty="0" smtClean="0">
                <a:solidFill>
                  <a:prstClr val="black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endParaRPr>
            </a:p>
            <a:p>
              <a:pPr>
                <a:buFontTx/>
                <a:buChar char="-"/>
              </a:pPr>
              <a:r>
                <a: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mr-IN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स्वतंत्र शौचालयाचा किमान आकारमान </a:t>
              </a:r>
              <a:r>
                <a: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0.9 </a:t>
              </a:r>
              <a:r>
                <a:rPr lang="mr-IN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मी.</a:t>
              </a:r>
              <a:r>
                <a: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 (3’0”)</a:t>
              </a:r>
              <a:r>
                <a:rPr lang="mr-IN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X</a:t>
              </a:r>
              <a:r>
                <a:rPr lang="mr-IN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1.2 </a:t>
              </a:r>
              <a:r>
                <a:rPr lang="mr-IN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मी.</a:t>
              </a:r>
              <a:r>
                <a: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rPr>
                <a:t> (4’0”)</a:t>
              </a:r>
            </a:p>
          </p:txBody>
        </p:sp>
        <p:grpSp>
          <p:nvGrpSpPr>
            <p:cNvPr id="31" name="Group 30"/>
            <p:cNvGrpSpPr>
              <a:grpSpLocks noChangeAspect="1"/>
            </p:cNvGrpSpPr>
            <p:nvPr/>
          </p:nvGrpSpPr>
          <p:grpSpPr>
            <a:xfrm>
              <a:off x="4384718" y="40052"/>
              <a:ext cx="4911682" cy="6772908"/>
              <a:chOff x="5743937" y="-1204715"/>
              <a:chExt cx="6754658" cy="9314258"/>
            </a:xfrm>
          </p:grpSpPr>
          <p:grpSp>
            <p:nvGrpSpPr>
              <p:cNvPr id="32" name="Group 31"/>
              <p:cNvGrpSpPr/>
              <p:nvPr/>
            </p:nvGrpSpPr>
            <p:grpSpPr>
              <a:xfrm>
                <a:off x="5818848" y="-1037594"/>
                <a:ext cx="6136327" cy="3850046"/>
                <a:chOff x="525461" y="609600"/>
                <a:chExt cx="8860741" cy="5330833"/>
              </a:xfrm>
            </p:grpSpPr>
            <p:graphicFrame>
              <p:nvGraphicFramePr>
                <p:cNvPr id="73" name="Object 4"/>
                <p:cNvGraphicFramePr>
                  <a:graphicFrameLocks noChangeAspect="1"/>
                </p:cNvGraphicFramePr>
                <p:nvPr/>
              </p:nvGraphicFramePr>
              <p:xfrm>
                <a:off x="914400" y="609600"/>
                <a:ext cx="7543800" cy="5330833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9522" name="Acrobat Document" r:id="rId7" imgW="8019943" imgH="5667255" progId="AcroExch.Document.11">
                        <p:embed/>
                      </p:oleObj>
                    </mc:Choice>
                    <mc:Fallback>
                      <p:oleObj name="Acrobat Document" r:id="rId7" imgW="8019943" imgH="5667255" progId="AcroExch.Document.11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8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914400" y="609600"/>
                              <a:ext cx="7543800" cy="5330833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grpSp>
              <p:nvGrpSpPr>
                <p:cNvPr id="74" name="Group 15"/>
                <p:cNvGrpSpPr/>
                <p:nvPr/>
              </p:nvGrpSpPr>
              <p:grpSpPr>
                <a:xfrm>
                  <a:off x="525461" y="1628774"/>
                  <a:ext cx="8566152" cy="2571385"/>
                  <a:chOff x="387772" y="1648648"/>
                  <a:chExt cx="9137231" cy="2693620"/>
                </a:xfrm>
              </p:grpSpPr>
              <p:sp>
                <p:nvSpPr>
                  <p:cNvPr id="86" name="TextBox 3"/>
                  <p:cNvSpPr txBox="1"/>
                  <p:nvPr/>
                </p:nvSpPr>
                <p:spPr>
                  <a:xfrm>
                    <a:off x="387772" y="2559959"/>
                    <a:ext cx="1628989" cy="82878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किमान </a:t>
                    </a:r>
                    <a:r>
                      <a:rPr lang="en-US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0.15 </a:t>
                    </a:r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मी.</a:t>
                    </a:r>
                    <a:r>
                      <a:rPr lang="en-US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 (6”)</a:t>
                    </a:r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 जाडीची भिंत</a:t>
                    </a:r>
                    <a:endParaRPr lang="en-US" sz="700" dirty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endParaRPr>
                  </a:p>
                </p:txBody>
              </p:sp>
              <p:sp>
                <p:nvSpPr>
                  <p:cNvPr id="87" name="TextBox 86"/>
                  <p:cNvSpPr txBox="1"/>
                  <p:nvPr/>
                </p:nvSpPr>
                <p:spPr>
                  <a:xfrm>
                    <a:off x="7772401" y="2556317"/>
                    <a:ext cx="1752602" cy="82878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50000"/>
                      </a:lnSpc>
                    </a:pPr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किमान </a:t>
                    </a:r>
                    <a:r>
                      <a:rPr lang="en-US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0.15</a:t>
                    </a:r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 मी.</a:t>
                    </a:r>
                    <a:r>
                      <a:rPr lang="en-US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 (6”)</a:t>
                    </a:r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 जाडीची भिंत</a:t>
                    </a:r>
                    <a:endParaRPr lang="en-US" sz="700" dirty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endParaRPr>
                  </a:p>
                </p:txBody>
              </p:sp>
              <p:sp>
                <p:nvSpPr>
                  <p:cNvPr id="88" name="TextBox 87"/>
                  <p:cNvSpPr txBox="1"/>
                  <p:nvPr/>
                </p:nvSpPr>
                <p:spPr>
                  <a:xfrm>
                    <a:off x="7848600" y="3810000"/>
                    <a:ext cx="1447799" cy="50647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lnSpc>
                        <a:spcPct val="150000"/>
                      </a:lnSpc>
                    </a:pPr>
                    <a:endParaRPr lang="en-US" sz="700" dirty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endParaRPr>
                  </a:p>
                </p:txBody>
              </p:sp>
              <p:sp>
                <p:nvSpPr>
                  <p:cNvPr id="89" name="TextBox 88"/>
                  <p:cNvSpPr txBox="1"/>
                  <p:nvPr/>
                </p:nvSpPr>
                <p:spPr>
                  <a:xfrm>
                    <a:off x="538481" y="1648648"/>
                    <a:ext cx="1625600" cy="82878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खिडकी </a:t>
                    </a:r>
                  </a:p>
                  <a:p>
                    <a:pPr algn="r"/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(एक बाजू किमान 0.30 मी.</a:t>
                    </a:r>
                    <a:r>
                      <a:rPr lang="en-US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 (1’0”</a:t>
                    </a:r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)</a:t>
                    </a:r>
                    <a:endParaRPr lang="en-US" sz="700" dirty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endParaRPr>
                  </a:p>
                </p:txBody>
              </p:sp>
              <p:sp>
                <p:nvSpPr>
                  <p:cNvPr id="90" name="TextBox 89"/>
                  <p:cNvSpPr txBox="1"/>
                  <p:nvPr/>
                </p:nvSpPr>
                <p:spPr>
                  <a:xfrm>
                    <a:off x="7810696" y="3298616"/>
                    <a:ext cx="1277999" cy="104365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mr-IN" sz="700" dirty="0" smtClean="0">
                        <a:solidFill>
                          <a:prstClr val="black"/>
                        </a:solidFill>
                        <a:latin typeface="Arial Unicode MS" pitchFamily="34" charset="-128"/>
                        <a:ea typeface="Arial Unicode MS" pitchFamily="34" charset="-128"/>
                        <a:cs typeface="Arial Unicode MS" pitchFamily="34" charset="-128"/>
                      </a:rPr>
                      <a:t>शोषखड्डा/ बंद गाटारास जोडणारा पाईप</a:t>
                    </a:r>
                    <a:endParaRPr lang="en-US" sz="700" dirty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endParaRPr>
                  </a:p>
                </p:txBody>
              </p:sp>
            </p:grpSp>
            <p:sp>
              <p:nvSpPr>
                <p:cNvPr id="75" name="TextBox 74"/>
                <p:cNvSpPr txBox="1"/>
                <p:nvPr/>
              </p:nvSpPr>
              <p:spPr>
                <a:xfrm>
                  <a:off x="8090802" y="876654"/>
                  <a:ext cx="1295400" cy="58605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mr-IN" sz="1400" b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प्लॅन</a:t>
                  </a:r>
                  <a:endParaRPr lang="en-US" sz="1400" b="1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76" name="TextBox 75"/>
                <p:cNvSpPr txBox="1"/>
                <p:nvPr/>
              </p:nvSpPr>
              <p:spPr>
                <a:xfrm>
                  <a:off x="8089721" y="3881145"/>
                  <a:ext cx="806209" cy="483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mr-IN" sz="7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बँफल</a:t>
                  </a:r>
                  <a:endParaRPr lang="en-US" sz="7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77" name="TextBox 76"/>
                <p:cNvSpPr txBox="1"/>
                <p:nvPr/>
              </p:nvSpPr>
              <p:spPr>
                <a:xfrm>
                  <a:off x="4343401" y="1219200"/>
                  <a:ext cx="1219200" cy="483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mr-IN" sz="700" b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सेप्टिक टाकी</a:t>
                  </a:r>
                  <a:endParaRPr lang="en-US" sz="700" b="1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78" name="TextBox 77"/>
                <p:cNvSpPr txBox="1"/>
                <p:nvPr/>
              </p:nvSpPr>
              <p:spPr>
                <a:xfrm>
                  <a:off x="2285998" y="1221889"/>
                  <a:ext cx="1181100" cy="51261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mr-IN" sz="700" b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शौचालय</a:t>
                  </a:r>
                  <a:endParaRPr lang="en-US" sz="700" b="1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cxnSp>
              <p:nvCxnSpPr>
                <p:cNvPr id="79" name="Straight Arrow Connector 78"/>
                <p:cNvCxnSpPr/>
                <p:nvPr/>
              </p:nvCxnSpPr>
              <p:spPr>
                <a:xfrm rot="5400000">
                  <a:off x="2172494" y="2170906"/>
                  <a:ext cx="1143000" cy="1588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Arrow Connector 79"/>
                <p:cNvCxnSpPr/>
                <p:nvPr/>
              </p:nvCxnSpPr>
              <p:spPr>
                <a:xfrm rot="5400000">
                  <a:off x="4306094" y="2170906"/>
                  <a:ext cx="1143000" cy="1588"/>
                </a:xfrm>
                <a:prstGeom prst="straightConnector1">
                  <a:avLst/>
                </a:prstGeom>
                <a:ln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Elbow Connector 80"/>
                <p:cNvCxnSpPr>
                  <a:stCxn id="90" idx="1"/>
                </p:cNvCxnSpPr>
                <p:nvPr/>
              </p:nvCxnSpPr>
              <p:spPr>
                <a:xfrm rot="10800000">
                  <a:off x="6893938" y="3432477"/>
                  <a:ext cx="590514" cy="269539"/>
                </a:xfrm>
                <a:prstGeom prst="bentConnector3">
                  <a:avLst>
                    <a:gd name="adj1" fmla="val 50000"/>
                  </a:avLst>
                </a:prstGeom>
                <a:ln>
                  <a:solidFill>
                    <a:schemeClr val="bg1">
                      <a:lumMod val="85000"/>
                    </a:schemeClr>
                  </a:solidFill>
                  <a:tailEnd type="arrow"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82" name="TextBox 81"/>
                <p:cNvSpPr txBox="1"/>
                <p:nvPr/>
              </p:nvSpPr>
              <p:spPr>
                <a:xfrm>
                  <a:off x="3409951" y="2390777"/>
                  <a:ext cx="838199" cy="3516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4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(6”)</a:t>
                  </a:r>
                  <a:endParaRPr lang="en-US" sz="4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83" name="TextBox 82"/>
                <p:cNvSpPr txBox="1"/>
                <p:nvPr/>
              </p:nvSpPr>
              <p:spPr>
                <a:xfrm rot="16200000">
                  <a:off x="1751019" y="2827272"/>
                  <a:ext cx="838199" cy="36670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4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(4’)</a:t>
                  </a:r>
                  <a:endParaRPr lang="en-US" sz="4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84" name="TextBox 83"/>
                <p:cNvSpPr txBox="1"/>
                <p:nvPr/>
              </p:nvSpPr>
              <p:spPr>
                <a:xfrm>
                  <a:off x="6915152" y="2724150"/>
                  <a:ext cx="838199" cy="3516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4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(6”)</a:t>
                  </a:r>
                  <a:endParaRPr lang="en-US" sz="4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85" name="TextBox 84"/>
                <p:cNvSpPr txBox="1"/>
                <p:nvPr/>
              </p:nvSpPr>
              <p:spPr>
                <a:xfrm>
                  <a:off x="2628902" y="4210052"/>
                  <a:ext cx="838199" cy="3516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4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(3’)</a:t>
                  </a:r>
                  <a:endParaRPr lang="en-US" sz="4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grpSp>
            <p:nvGrpSpPr>
              <p:cNvPr id="33" name="Group 32"/>
              <p:cNvGrpSpPr/>
              <p:nvPr/>
            </p:nvGrpSpPr>
            <p:grpSpPr>
              <a:xfrm>
                <a:off x="5743937" y="2603496"/>
                <a:ext cx="6754658" cy="3733377"/>
                <a:chOff x="-1" y="682754"/>
                <a:chExt cx="9753599" cy="5169291"/>
              </a:xfrm>
            </p:grpSpPr>
            <p:graphicFrame>
              <p:nvGraphicFramePr>
                <p:cNvPr id="50" name="Object 4"/>
                <p:cNvGraphicFramePr>
                  <a:graphicFrameLocks noChangeAspect="1"/>
                </p:cNvGraphicFramePr>
                <p:nvPr/>
              </p:nvGraphicFramePr>
              <p:xfrm>
                <a:off x="990600" y="682754"/>
                <a:ext cx="7315199" cy="5169291"/>
              </p:xfrm>
              <a:graphic>
                <a:graphicData uri="http://schemas.openxmlformats.org/presentationml/2006/ole">
                  <mc:AlternateContent xmlns:mc="http://schemas.openxmlformats.org/markup-compatibility/2006">
                    <mc:Choice xmlns:v="urn:schemas-microsoft-com:vml" Requires="v">
                      <p:oleObj spid="_x0000_s19523" name="Acrobat Document" r:id="rId9" imgW="8019943" imgH="5667255" progId="AcroExch.Document.11">
                        <p:embed/>
                      </p:oleObj>
                    </mc:Choice>
                    <mc:Fallback>
                      <p:oleObj name="Acrobat Document" r:id="rId9" imgW="8019943" imgH="5667255" progId="AcroExch.Document.11">
                        <p:embed/>
                        <p:pic>
                          <p:nvPicPr>
                            <p:cNvPr id="0" name=""/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10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990600" y="682754"/>
                              <a:ext cx="7315199" cy="5169291"/>
                            </a:xfrm>
                            <a:prstGeom prst="rect">
                              <a:avLst/>
                            </a:prstGeom>
                            <a:noFill/>
                            <a:ln>
                              <a:noFill/>
                            </a:ln>
                            <a:effectLst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chemeClr val="accent1"/>
                                  </a:solidFill>
                                </a14:hiddenFill>
                              </a:ext>
                              <a:ext uri="{91240B29-F687-4F45-9708-019B960494DF}">
                                <a14:hiddenLine xmlns:a14="http://schemas.microsoft.com/office/drawing/2010/main" w="9525">
                                  <a:solidFill>
                                    <a:schemeClr val="tx1"/>
                                  </a:solidFill>
                                  <a:miter lim="800000"/>
                                  <a:headEnd/>
                                  <a:tailEnd/>
                                </a14:hiddenLine>
                              </a:ext>
                              <a:ext uri="{AF507438-7753-43E0-B8FC-AC1667EBCBE1}">
                                <a14:hiddenEffects xmlns:a14="http://schemas.microsoft.com/office/drawing/2010/main">
                                  <a:effectLst>
                                    <a:outerShdw dist="35921" dir="2700000" algn="ctr" rotWithShape="0">
                                      <a:schemeClr val="bg2"/>
                                    </a:outerShdw>
                                  </a:effectLst>
                                </a14:hiddenEffects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  <p:sp>
              <p:nvSpPr>
                <p:cNvPr id="51" name="TextBox 50"/>
                <p:cNvSpPr txBox="1"/>
                <p:nvPr/>
              </p:nvSpPr>
              <p:spPr>
                <a:xfrm>
                  <a:off x="2151986" y="1008168"/>
                  <a:ext cx="544970" cy="35163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पत्रे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800795" y="1328873"/>
                  <a:ext cx="1942410" cy="35163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/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1:3:6 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सिमेंट कॉंन्क्रीटचा थर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53" name="TextBox 52"/>
                <p:cNvSpPr txBox="1"/>
                <p:nvPr/>
              </p:nvSpPr>
              <p:spPr>
                <a:xfrm>
                  <a:off x="-1" y="1793281"/>
                  <a:ext cx="3049808" cy="43954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>
                    <a:lnSpc>
                      <a:spcPct val="150000"/>
                    </a:lnSpc>
                  </a:pP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खिडकीचे क्षेत्रफळ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0.30 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चौ.मी.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(3.2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चौ. फूट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)</a:t>
                  </a:r>
                  <a:endParaRPr lang="mr-IN" sz="6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54" name="TextBox 53"/>
                <p:cNvSpPr txBox="1"/>
                <p:nvPr/>
              </p:nvSpPr>
              <p:spPr>
                <a:xfrm>
                  <a:off x="202296" y="2706725"/>
                  <a:ext cx="2538147" cy="3516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0.15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ी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. (6”) 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जाडीची भिंत</a:t>
                  </a: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6994215" y="2514569"/>
                  <a:ext cx="2683186" cy="3516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व्हेंटिलेशन पाईप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</a:t>
                  </a:r>
                </a:p>
              </p:txBody>
            </p:sp>
            <p:sp>
              <p:nvSpPr>
                <p:cNvPr id="56" name="Rectangle 55"/>
                <p:cNvSpPr/>
                <p:nvPr/>
              </p:nvSpPr>
              <p:spPr>
                <a:xfrm>
                  <a:off x="6957957" y="2761414"/>
                  <a:ext cx="2111124" cy="26372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mr-IN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(किमान </a:t>
                  </a:r>
                  <a:r>
                    <a:rPr lang="en-US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50</a:t>
                  </a:r>
                  <a:r>
                    <a:rPr lang="mr-IN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िमी</a:t>
                  </a:r>
                  <a:r>
                    <a:rPr lang="en-US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. (2”) </a:t>
                  </a:r>
                  <a:r>
                    <a:rPr lang="mr-IN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व्यास</a:t>
                  </a:r>
                  <a:r>
                    <a:rPr lang="en-US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</a:t>
                  </a:r>
                  <a:r>
                    <a:rPr lang="mr-IN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व किमान </a:t>
                  </a:r>
                  <a:r>
                    <a:rPr lang="en-US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2.0</a:t>
                  </a:r>
                  <a:r>
                    <a:rPr lang="mr-IN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ी.</a:t>
                  </a:r>
                  <a:r>
                    <a:rPr lang="en-US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(6’6”)</a:t>
                  </a:r>
                  <a:r>
                    <a:rPr lang="mr-IN" sz="300" i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उंची) </a:t>
                  </a:r>
                </a:p>
              </p:txBody>
            </p:sp>
            <p:sp>
              <p:nvSpPr>
                <p:cNvPr id="57" name="TextBox 56"/>
                <p:cNvSpPr txBox="1"/>
                <p:nvPr/>
              </p:nvSpPr>
              <p:spPr>
                <a:xfrm>
                  <a:off x="57261" y="3359391"/>
                  <a:ext cx="2683184" cy="3516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फरशी कामाची लेवल</a:t>
                  </a:r>
                  <a:endParaRPr lang="en-US" sz="6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58" name="TextBox 57"/>
                <p:cNvSpPr txBox="1"/>
                <p:nvPr/>
              </p:nvSpPr>
              <p:spPr>
                <a:xfrm>
                  <a:off x="7175498" y="4610100"/>
                  <a:ext cx="1898870" cy="87908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शोषखड्डा/बंद गटारीस जोडणारा पाईप 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100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िमी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. (4”)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व्यासाचा पाईप</a:t>
                  </a:r>
                  <a:endParaRPr lang="en-US" sz="6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>
                  <a:off x="4862320" y="1763982"/>
                  <a:ext cx="1560425" cy="35163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सिमेंट कॉन्क्रीटचा थर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0" name="TextBox 59"/>
                <p:cNvSpPr txBox="1"/>
                <p:nvPr/>
              </p:nvSpPr>
              <p:spPr>
                <a:xfrm>
                  <a:off x="4862320" y="2145443"/>
                  <a:ext cx="1366768" cy="7032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दरवाजा: किमान उंची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2.1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ी.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(7’0”)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4938452" y="3252456"/>
                  <a:ext cx="1089304" cy="35163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संडासचे भांडे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4912120" y="3550488"/>
                  <a:ext cx="1328047" cy="351633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जमिनीची पातळी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7026236" y="2952212"/>
                  <a:ext cx="1812962" cy="5274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0.15 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मी.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(6”)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जाडीची कॉन्क्रीट स्लॅब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4" name="TextBox 63"/>
                <p:cNvSpPr txBox="1"/>
                <p:nvPr/>
              </p:nvSpPr>
              <p:spPr>
                <a:xfrm>
                  <a:off x="1660422" y="4369343"/>
                  <a:ext cx="1740443" cy="5274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100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िमी.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(4”)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व्यासाचा इनलेट पाईप</a:t>
                  </a:r>
                  <a:endParaRPr lang="en-US" sz="6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5" name="TextBox 64"/>
                <p:cNvSpPr txBox="1"/>
                <p:nvPr/>
              </p:nvSpPr>
              <p:spPr>
                <a:xfrm>
                  <a:off x="1729052" y="4825999"/>
                  <a:ext cx="2538147" cy="52744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0.15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ी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. (6”)</a:t>
                  </a:r>
                </a:p>
                <a:p>
                  <a:pPr algn="r"/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जाडीची भिंत</a:t>
                  </a:r>
                </a:p>
              </p:txBody>
            </p:sp>
            <p:sp>
              <p:nvSpPr>
                <p:cNvPr id="66" name="TextBox 65"/>
                <p:cNvSpPr txBox="1"/>
                <p:nvPr/>
              </p:nvSpPr>
              <p:spPr>
                <a:xfrm>
                  <a:off x="7070414" y="3376464"/>
                  <a:ext cx="2683184" cy="3516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झाकण</a:t>
                  </a:r>
                  <a:endParaRPr lang="en-US" sz="600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7" name="TextBox 66"/>
                <p:cNvSpPr txBox="1"/>
                <p:nvPr/>
              </p:nvSpPr>
              <p:spPr>
                <a:xfrm>
                  <a:off x="7521111" y="835155"/>
                  <a:ext cx="1295400" cy="58605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mr-IN" sz="1400" b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सेक्शन</a:t>
                  </a:r>
                  <a:endParaRPr lang="en-US" sz="1400" b="1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68" name="Rectangle 67"/>
                <p:cNvSpPr/>
                <p:nvPr/>
              </p:nvSpPr>
              <p:spPr>
                <a:xfrm>
                  <a:off x="340138" y="2133599"/>
                  <a:ext cx="2362200" cy="52744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आवश्यक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व एका बाजूचे माप 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0.30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मी</a:t>
                  </a:r>
                  <a:r>
                    <a:rPr lang="en-US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. (1’0”)</a:t>
                  </a:r>
                  <a:r>
                    <a:rPr lang="mr-IN" sz="6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 आवश्यक</a:t>
                  </a:r>
                </a:p>
              </p:txBody>
            </p:sp>
            <p:sp>
              <p:nvSpPr>
                <p:cNvPr id="69" name="TextBox 68"/>
                <p:cNvSpPr txBox="1"/>
                <p:nvPr/>
              </p:nvSpPr>
              <p:spPr>
                <a:xfrm rot="16200000">
                  <a:off x="3434957" y="2910424"/>
                  <a:ext cx="838199" cy="32087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3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(4’)</a:t>
                  </a:r>
                  <a:endParaRPr lang="en-US" sz="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70" name="TextBox 69"/>
                <p:cNvSpPr txBox="1"/>
                <p:nvPr/>
              </p:nvSpPr>
              <p:spPr>
                <a:xfrm rot="16200000">
                  <a:off x="3991534" y="2843114"/>
                  <a:ext cx="838199" cy="32087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3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(7’)</a:t>
                  </a:r>
                  <a:endParaRPr lang="en-US" sz="3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71" name="TextBox 70"/>
                <p:cNvSpPr txBox="1"/>
                <p:nvPr/>
              </p:nvSpPr>
              <p:spPr>
                <a:xfrm rot="16200000">
                  <a:off x="5724779" y="3837585"/>
                  <a:ext cx="838199" cy="2750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2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(1’)</a:t>
                  </a:r>
                  <a:endParaRPr lang="en-US" sz="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72" name="TextBox 71"/>
                <p:cNvSpPr txBox="1"/>
                <p:nvPr/>
              </p:nvSpPr>
              <p:spPr>
                <a:xfrm rot="16200000">
                  <a:off x="5889810" y="4305896"/>
                  <a:ext cx="838199" cy="2750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en-US" sz="200" dirty="0" smtClean="0">
                      <a:solidFill>
                        <a:prstClr val="black">
                          <a:lumMod val="65000"/>
                          <a:lumOff val="35000"/>
                        </a:prstClr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3’3”</a:t>
                  </a:r>
                  <a:endParaRPr lang="en-US" sz="200" dirty="0">
                    <a:solidFill>
                      <a:prstClr val="black">
                        <a:lumMod val="65000"/>
                        <a:lumOff val="35000"/>
                      </a:prstClr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sp>
            <p:nvSpPr>
              <p:cNvPr id="34" name="Rectangle 33"/>
              <p:cNvSpPr/>
              <p:nvPr/>
            </p:nvSpPr>
            <p:spPr>
              <a:xfrm>
                <a:off x="6592819" y="2924806"/>
                <a:ext cx="686020" cy="11006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4895" tIns="32447" rIns="64895" bIns="32447" rtlCol="0" anchor="ctr"/>
              <a:lstStyle/>
              <a:p>
                <a:pPr algn="ctr"/>
                <a:endParaRPr lang="en-US" sz="1200">
                  <a:solidFill>
                    <a:prstClr val="white"/>
                  </a:solidFill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5906801" y="-1204715"/>
                <a:ext cx="6490804" cy="40826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64895" tIns="32447" rIns="64895" bIns="32447" rtlCol="0" anchor="t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mr-IN" sz="1050" b="1" dirty="0" smtClean="0"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पर्याय -2  शौचालयापासून काही अंतरावर असणारी सेप्टिक टाकी </a:t>
                </a:r>
                <a:endParaRPr lang="en-US" sz="1050" b="1" dirty="0"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5916695" y="-821571"/>
                <a:ext cx="5948652" cy="8878559"/>
              </a:xfrm>
              <a:prstGeom prst="rect">
                <a:avLst/>
              </a:prstGeom>
              <a:noFill/>
              <a:ln w="6350"/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64895" tIns="32447" rIns="64895" bIns="32447" rtlCol="0" anchor="ctr"/>
              <a:lstStyle/>
              <a:p>
                <a:pPr algn="ctr"/>
                <a:endParaRPr lang="en-US" sz="120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37" name="Straight Connector 36"/>
              <p:cNvCxnSpPr/>
              <p:nvPr/>
            </p:nvCxnSpPr>
            <p:spPr>
              <a:xfrm flipV="1">
                <a:off x="5916695" y="2682080"/>
                <a:ext cx="5948652" cy="21390"/>
              </a:xfrm>
              <a:prstGeom prst="line">
                <a:avLst/>
              </a:prstGeom>
              <a:ln>
                <a:solidFill>
                  <a:schemeClr val="tx1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tangle 37"/>
              <p:cNvSpPr/>
              <p:nvPr/>
            </p:nvSpPr>
            <p:spPr>
              <a:xfrm>
                <a:off x="6050447" y="1870283"/>
                <a:ext cx="5555596" cy="678919"/>
              </a:xfrm>
              <a:prstGeom prst="rect">
                <a:avLst/>
              </a:prstGeom>
            </p:spPr>
            <p:txBody>
              <a:bodyPr wrap="square" lIns="64895" tIns="32447" rIns="64895" bIns="32447">
                <a:spAutoFit/>
              </a:bodyPr>
              <a:lstStyle/>
              <a:p>
                <a:r>
                  <a:rPr lang="mr-IN" sz="800" b="1" u="sng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टिप: </a:t>
                </a:r>
                <a:endParaRPr lang="en-US" sz="800" b="1" u="sng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  <a:p>
                <a:pPr marL="81119" indent="-81119">
                  <a:buFontTx/>
                  <a:buChar char="-"/>
                </a:pPr>
                <a:r>
                  <a:rPr lang="en-US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r>
                  <a:rPr lang="mr-IN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सेप्टिक टाकी मधील किमान एक चेंबर उघड्या जागेवर / कोणत्याही बांधकामाखाली नसावे. सेप्टिक टाकीची नियमित स्वच्छता करण्याकरिता टाकीला झाकणासहित दारे असावीत </a:t>
                </a:r>
                <a:endParaRPr lang="en-US" sz="600" b="1" dirty="0" smtClean="0">
                  <a:solidFill>
                    <a:prstClr val="black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endParaRPr>
              </a:p>
              <a:p>
                <a:pPr>
                  <a:buFontTx/>
                  <a:buChar char="-"/>
                </a:pPr>
                <a:r>
                  <a:rPr lang="en-US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r>
                  <a:rPr lang="mr-IN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स्वतंत्र शौचालयाचा किमान आकारमान </a:t>
                </a:r>
                <a:r>
                  <a:rPr lang="en-US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0.9 </a:t>
                </a:r>
                <a:r>
                  <a:rPr lang="mr-IN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मी.</a:t>
                </a:r>
                <a:r>
                  <a:rPr lang="en-US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(3’0”)</a:t>
                </a:r>
                <a:r>
                  <a:rPr lang="mr-IN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r>
                  <a:rPr lang="en-US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X</a:t>
                </a:r>
                <a:r>
                  <a:rPr lang="mr-IN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</a:t>
                </a:r>
                <a:r>
                  <a:rPr lang="en-US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1.2 </a:t>
                </a:r>
                <a:r>
                  <a:rPr lang="mr-IN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मी.</a:t>
                </a:r>
                <a:r>
                  <a:rPr lang="en-US" sz="600" b="1" dirty="0" smtClean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rPr>
                  <a:t> (4’0”)</a:t>
                </a:r>
              </a:p>
            </p:txBody>
          </p:sp>
          <p:grpSp>
            <p:nvGrpSpPr>
              <p:cNvPr id="39" name="Group 38"/>
              <p:cNvGrpSpPr/>
              <p:nvPr/>
            </p:nvGrpSpPr>
            <p:grpSpPr>
              <a:xfrm>
                <a:off x="6027310" y="6171765"/>
                <a:ext cx="5973145" cy="1937778"/>
                <a:chOff x="561315" y="10058400"/>
                <a:chExt cx="8296404" cy="2683080"/>
              </a:xfrm>
            </p:grpSpPr>
            <p:sp>
              <p:nvSpPr>
                <p:cNvPr id="40" name="Rectangle 39"/>
                <p:cNvSpPr/>
                <p:nvPr/>
              </p:nvSpPr>
              <p:spPr>
                <a:xfrm>
                  <a:off x="561315" y="11995861"/>
                  <a:ext cx="4114799" cy="74561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mr-IN" sz="600" b="1" dirty="0" smtClean="0">
                      <a:solidFill>
                        <a:prstClr val="black"/>
                      </a:solidFill>
                    </a:rPr>
                    <a:t>सेप्टीक टाकीचे आकारमान: </a:t>
                  </a:r>
                </a:p>
                <a:p>
                  <a:pPr marL="81119" indent="-81119"/>
                  <a:r>
                    <a:rPr lang="en-US" sz="600" dirty="0" smtClean="0">
                      <a:solidFill>
                        <a:prstClr val="black"/>
                      </a:solidFill>
                    </a:rPr>
                    <a:t>-  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सेप्टीक टाकीची किमान रुंदी 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0.75 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मी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. (2’5”) 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व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 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टाकीची लांबी ही रुंदीच्या 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2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 ते 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4 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पट असावी.</a:t>
                  </a:r>
                </a:p>
              </p:txBody>
            </p:sp>
            <p:sp>
              <p:nvSpPr>
                <p:cNvPr id="41" name="Rectangle 40"/>
                <p:cNvSpPr/>
                <p:nvPr/>
              </p:nvSpPr>
              <p:spPr>
                <a:xfrm>
                  <a:off x="4133482" y="11995861"/>
                  <a:ext cx="4724237" cy="74561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mr-IN" sz="600" b="1" dirty="0" smtClean="0">
                      <a:solidFill>
                        <a:prstClr val="black"/>
                      </a:solidFill>
                    </a:rPr>
                    <a:t>तपशील -</a:t>
                  </a:r>
                  <a:endParaRPr lang="en-US" sz="600" b="1" dirty="0" smtClean="0">
                    <a:solidFill>
                      <a:prstClr val="black"/>
                    </a:solidFill>
                  </a:endParaRPr>
                </a:p>
                <a:p>
                  <a:r>
                    <a:rPr lang="mr-IN" sz="600" dirty="0" smtClean="0">
                      <a:solidFill>
                        <a:prstClr val="black"/>
                      </a:solidFill>
                    </a:rPr>
                    <a:t>- टाकी मधील पण्याची पातळी 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1.0 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मी.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 (3’3”)</a:t>
                  </a:r>
                  <a:endParaRPr lang="mr-IN" sz="600" dirty="0" smtClean="0">
                    <a:solidFill>
                      <a:prstClr val="black"/>
                    </a:solidFill>
                  </a:endParaRPr>
                </a:p>
                <a:p>
                  <a:pPr marL="167871" indent="-167871"/>
                  <a:r>
                    <a:rPr lang="mr-IN" sz="600" dirty="0" smtClean="0">
                      <a:solidFill>
                        <a:prstClr val="black"/>
                      </a:solidFill>
                    </a:rPr>
                    <a:t>- पाण्याच्या पातळीवरील मोकळी जागा किमान 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0.3 </a:t>
                  </a:r>
                  <a:r>
                    <a:rPr lang="mr-IN" sz="600" dirty="0" smtClean="0">
                      <a:solidFill>
                        <a:prstClr val="black"/>
                      </a:solidFill>
                    </a:rPr>
                    <a:t>मी. </a:t>
                  </a:r>
                  <a:r>
                    <a:rPr lang="en-US" sz="600" dirty="0" smtClean="0">
                      <a:solidFill>
                        <a:prstClr val="black"/>
                      </a:solidFill>
                    </a:rPr>
                    <a:t>(1’0”)</a:t>
                  </a:r>
                  <a:endParaRPr lang="mr-IN" sz="600" dirty="0" smtClean="0">
                    <a:solidFill>
                      <a:prstClr val="black"/>
                    </a:solidFill>
                  </a:endParaRPr>
                </a:p>
              </p:txBody>
            </p:sp>
            <p:pic>
              <p:nvPicPr>
                <p:cNvPr id="42" name="Picture 3" descr="C:\Users\pc\Desktop\1.png"/>
                <p:cNvPicPr>
                  <a:picLocks noChangeAspect="1" noChangeArrowheads="1"/>
                </p:cNvPicPr>
                <p:nvPr/>
              </p:nvPicPr>
              <p:blipFill>
                <a:blip r:embed="rId4"/>
                <a:srcRect t="27522" b="32709"/>
                <a:stretch>
                  <a:fillRect/>
                </a:stretch>
              </p:blipFill>
              <p:spPr bwMode="auto">
                <a:xfrm>
                  <a:off x="1836737" y="10058400"/>
                  <a:ext cx="6229350" cy="1752600"/>
                </a:xfrm>
                <a:prstGeom prst="rect">
                  <a:avLst/>
                </a:prstGeom>
                <a:noFill/>
              </p:spPr>
            </p:pic>
            <p:sp>
              <p:nvSpPr>
                <p:cNvPr id="43" name="TextBox 42"/>
                <p:cNvSpPr txBox="1"/>
                <p:nvPr/>
              </p:nvSpPr>
              <p:spPr>
                <a:xfrm>
                  <a:off x="2689265" y="11188696"/>
                  <a:ext cx="875177" cy="96698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mr-IN" sz="9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2अ – 4अ</a:t>
                  </a:r>
                  <a:endParaRPr lang="en-US" sz="9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44" name="TextBox 43"/>
                <p:cNvSpPr txBox="1"/>
                <p:nvPr/>
              </p:nvSpPr>
              <p:spPr>
                <a:xfrm rot="16200000">
                  <a:off x="1472455" y="10279242"/>
                  <a:ext cx="875180" cy="5731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lnSpc>
                      <a:spcPct val="150000"/>
                    </a:lnSpc>
                  </a:pPr>
                  <a:r>
                    <a:rPr lang="mr-IN" sz="9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अ</a:t>
                  </a:r>
                  <a:endParaRPr lang="en-US" sz="9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45" name="TextBox 44"/>
                <p:cNvSpPr txBox="1"/>
                <p:nvPr/>
              </p:nvSpPr>
              <p:spPr>
                <a:xfrm>
                  <a:off x="4741902" y="10210795"/>
                  <a:ext cx="1448902" cy="38093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mr-IN" sz="700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जमिनीची पातळी</a:t>
                  </a:r>
                  <a:endParaRPr lang="en-US" sz="700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46" name="Rectangle 45"/>
                <p:cNvSpPr/>
                <p:nvPr/>
              </p:nvSpPr>
              <p:spPr>
                <a:xfrm>
                  <a:off x="7180299" y="11506195"/>
                  <a:ext cx="1402973" cy="38093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mr-IN" sz="700" dirty="0" smtClean="0">
                      <a:solidFill>
                        <a:prstClr val="black"/>
                      </a:solidFill>
                    </a:rPr>
                    <a:t>पण्याची पातळी</a:t>
                  </a:r>
                  <a:endParaRPr lang="en-US" sz="7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" name="Rectangle 46"/>
                <p:cNvSpPr/>
                <p:nvPr/>
              </p:nvSpPr>
              <p:spPr>
                <a:xfrm>
                  <a:off x="7046990" y="10134595"/>
                  <a:ext cx="1402973" cy="380936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mr-IN" sz="700" dirty="0" smtClean="0">
                      <a:solidFill>
                        <a:prstClr val="black"/>
                      </a:solidFill>
                    </a:rPr>
                    <a:t>पण्याची पातळी</a:t>
                  </a:r>
                  <a:endParaRPr lang="en-US" sz="7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8" name="TextBox 47"/>
                <p:cNvSpPr txBox="1"/>
                <p:nvPr/>
              </p:nvSpPr>
              <p:spPr>
                <a:xfrm>
                  <a:off x="1036657" y="11048994"/>
                  <a:ext cx="1352550" cy="7032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mr-IN" sz="1200" b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प्लॅन</a:t>
                  </a:r>
                  <a:endParaRPr lang="en-US" sz="1200" b="1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sp>
              <p:nvSpPr>
                <p:cNvPr id="49" name="TextBox 48"/>
                <p:cNvSpPr txBox="1"/>
                <p:nvPr/>
              </p:nvSpPr>
              <p:spPr>
                <a:xfrm>
                  <a:off x="5027611" y="11048994"/>
                  <a:ext cx="1295399" cy="7032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150000"/>
                    </a:lnSpc>
                  </a:pPr>
                  <a:r>
                    <a:rPr lang="mr-IN" sz="1200" b="1" dirty="0" smtClean="0">
                      <a:solidFill>
                        <a:prstClr val="black"/>
                      </a:solidFill>
                      <a:latin typeface="Arial Unicode MS" pitchFamily="34" charset="-128"/>
                      <a:ea typeface="Arial Unicode MS" pitchFamily="34" charset="-128"/>
                      <a:cs typeface="Arial Unicode MS" pitchFamily="34" charset="-128"/>
                    </a:rPr>
                    <a:t>सेक्शन</a:t>
                  </a:r>
                  <a:endParaRPr lang="en-US" sz="1200" b="1" dirty="0">
                    <a:solidFill>
                      <a:prstClr val="black"/>
                    </a:solidFill>
                    <a:latin typeface="Arial Unicode MS" pitchFamily="34" charset="-128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67322" y="40341"/>
            <a:ext cx="8153400" cy="533400"/>
          </a:xfrm>
        </p:spPr>
        <p:txBody>
          <a:bodyPr>
            <a:normAutofit fontScale="90000"/>
          </a:bodyPr>
          <a:lstStyle/>
          <a:p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 आणि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सेप्टिक </a:t>
            </a:r>
            <a:r>
              <a:rPr lang="hi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ाकी डिझाइन</a:t>
            </a:r>
            <a:r>
              <a:rPr lang="en-US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. .</a:t>
            </a:r>
            <a:endParaRPr lang="en-US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7567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5" t="25000" r="12500" b="16000"/>
          <a:stretch>
            <a:fillRect/>
          </a:stretch>
        </p:blipFill>
        <p:spPr bwMode="auto">
          <a:xfrm>
            <a:off x="0" y="263770"/>
            <a:ext cx="9144000" cy="634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0" y="1784838"/>
            <a:ext cx="1295400" cy="9144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/>
          </a:p>
        </p:txBody>
      </p:sp>
      <p:sp>
        <p:nvSpPr>
          <p:cNvPr id="6" name="Rectangle 5"/>
          <p:cNvSpPr/>
          <p:nvPr/>
        </p:nvSpPr>
        <p:spPr>
          <a:xfrm>
            <a:off x="1371600" y="1784838"/>
            <a:ext cx="7772400" cy="9144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62"/>
          </a:p>
        </p:txBody>
      </p:sp>
      <p:sp>
        <p:nvSpPr>
          <p:cNvPr id="78853" name="Title 3"/>
          <p:cNvSpPr>
            <a:spLocks noGrp="1"/>
          </p:cNvSpPr>
          <p:nvPr>
            <p:ph type="title"/>
          </p:nvPr>
        </p:nvSpPr>
        <p:spPr>
          <a:xfrm>
            <a:off x="1371600" y="1740877"/>
            <a:ext cx="7772400" cy="914400"/>
          </a:xfrm>
        </p:spPr>
        <p:txBody>
          <a:bodyPr/>
          <a:lstStyle/>
          <a:p>
            <a:pPr eaLnBrk="1" hangingPunct="1"/>
            <a:r>
              <a:rPr lang="mr-IN" altLang="en-US" sz="3323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र्वांगीण मैला व्यवस्थापन </a:t>
            </a:r>
            <a:endParaRPr lang="en-US" altLang="en-US" sz="3323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24224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le 2"/>
          <p:cNvSpPr>
            <a:spLocks noGrp="1"/>
          </p:cNvSpPr>
          <p:nvPr>
            <p:ph type="title" idx="4294967295"/>
          </p:nvPr>
        </p:nvSpPr>
        <p:spPr>
          <a:xfrm>
            <a:off x="0" y="325316"/>
            <a:ext cx="9144000" cy="492369"/>
          </a:xfrm>
        </p:spPr>
        <p:txBody>
          <a:bodyPr/>
          <a:lstStyle/>
          <a:p>
            <a:pPr algn="ctr" eaLnBrk="1" hangingPunct="1"/>
            <a:r>
              <a:rPr lang="en-IN" altLang="en-US" sz="2585">
                <a:solidFill>
                  <a:schemeClr val="bg1"/>
                </a:solidFill>
              </a:rPr>
              <a:t>Challenge</a:t>
            </a:r>
          </a:p>
        </p:txBody>
      </p:sp>
      <p:sp>
        <p:nvSpPr>
          <p:cNvPr id="113667" name="Rectangle 5"/>
          <p:cNvSpPr>
            <a:spLocks noChangeArrowheads="1"/>
          </p:cNvSpPr>
          <p:nvPr/>
        </p:nvSpPr>
        <p:spPr bwMode="auto">
          <a:xfrm>
            <a:off x="0" y="967154"/>
            <a:ext cx="9144000" cy="774186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IN" altLang="en-US" sz="4431" b="1" dirty="0" smtClean="0">
                <a:solidFill>
                  <a:srgbClr val="33CCCC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37%</a:t>
            </a:r>
            <a:r>
              <a:rPr lang="en-IN" altLang="en-US" sz="1292" b="1" dirty="0" smtClean="0">
                <a:solidFill>
                  <a:srgbClr val="33CCCC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altLang="en-US" sz="1292" b="1" dirty="0" smtClean="0">
                <a:solidFill>
                  <a:srgbClr val="33CCCC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altLang="en-US" sz="1846" b="1" dirty="0">
                <a:solidFill>
                  <a:srgbClr val="33CCC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ागरी कुटुंबांकडील शौचालये </a:t>
            </a:r>
            <a:r>
              <a:rPr lang="mr-IN" altLang="en-US" sz="2215" b="1" dirty="0">
                <a:solidFill>
                  <a:srgbClr val="FFFF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 टाक्यांना </a:t>
            </a:r>
            <a:r>
              <a:rPr lang="mr-IN" altLang="en-US" sz="1846" b="1" dirty="0">
                <a:solidFill>
                  <a:srgbClr val="33CCC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जोडलेली आहेत </a:t>
            </a:r>
            <a:endParaRPr lang="en-IN" altLang="en-US" sz="4062" b="1" dirty="0">
              <a:solidFill>
                <a:srgbClr val="33CCCC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80900" name="Picture 7" descr="Photo-0049.jpg"/>
          <p:cNvPicPr>
            <a:picLocks noChangeAspect="1"/>
          </p:cNvPicPr>
          <p:nvPr/>
        </p:nvPicPr>
        <p:blipFill>
          <a:blip r:embed="rId3">
            <a:lum contras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69" y="1951892"/>
            <a:ext cx="2504343" cy="19694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1" name="Picture 5" descr="K:\SINNAR 26TH TO 28TH\SINNAR 26-06-12\Image1272.jpg"/>
          <p:cNvPicPr>
            <a:picLocks noChangeAspect="1" noChangeArrowheads="1"/>
          </p:cNvPicPr>
          <p:nvPr/>
        </p:nvPicPr>
        <p:blipFill>
          <a:blip r:embed="rId4">
            <a:lum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1959219"/>
            <a:ext cx="1975338" cy="196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2" name="Picture 2" descr="C:\Users\saurabh\Desktop\Sinnar_26 June\DSC07382.JPG"/>
          <p:cNvPicPr>
            <a:picLocks noChangeAspect="1" noChangeArrowheads="1"/>
          </p:cNvPicPr>
          <p:nvPr/>
        </p:nvPicPr>
        <p:blipFill>
          <a:blip r:embed="rId5">
            <a:lum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939" y="1973874"/>
            <a:ext cx="3184281" cy="1947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0" y="4136781"/>
            <a:ext cx="9144000" cy="2464842"/>
          </a:xfrm>
          <a:prstGeom prst="rect">
            <a:avLst/>
          </a:prstGeom>
          <a:solidFill>
            <a:schemeClr val="tx2"/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mr-IN" sz="2585" b="1" dirty="0">
                <a:solidFill>
                  <a:srgbClr val="FDE9D9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 टाक्या शोष खड्ड्यांशी जोडलेल्या आहेत का</a:t>
            </a:r>
            <a:r>
              <a:rPr lang="en-US" sz="2585" b="1" dirty="0">
                <a:solidFill>
                  <a:srgbClr val="FDE9D9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?</a:t>
            </a:r>
          </a:p>
          <a:p>
            <a:pPr algn="ctr">
              <a:defRPr/>
            </a:pPr>
            <a:endParaRPr lang="en-US" sz="1015" b="1" dirty="0">
              <a:solidFill>
                <a:srgbClr val="FFFFFF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defRPr/>
            </a:pPr>
            <a:r>
              <a:rPr lang="en-US" sz="2585" b="1" dirty="0">
                <a:solidFill>
                  <a:srgbClr val="FFFF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    </a:t>
            </a:r>
            <a:r>
              <a:rPr lang="mr-IN" sz="2585" b="1" dirty="0">
                <a:solidFill>
                  <a:srgbClr val="FFFF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्या नियमावलींप्रमाणे बांधलेल्या आहेत का</a:t>
            </a:r>
            <a:r>
              <a:rPr lang="en-US" sz="2585" b="1" dirty="0">
                <a:solidFill>
                  <a:srgbClr val="FFFF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?</a:t>
            </a:r>
            <a:endParaRPr lang="en-US" sz="1108" b="1" dirty="0">
              <a:solidFill>
                <a:srgbClr val="FFFF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>
              <a:defRPr/>
            </a:pPr>
            <a:endParaRPr lang="en-US" sz="1108" b="1" dirty="0">
              <a:solidFill>
                <a:srgbClr val="FFFF00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defRPr/>
            </a:pPr>
            <a:r>
              <a:rPr lang="en-IN" sz="2585" b="1" dirty="0">
                <a:solidFill>
                  <a:srgbClr val="33CCC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585" b="1" dirty="0">
                <a:solidFill>
                  <a:srgbClr val="33CCC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्या किती कालांतराने साफ केल्या जातात</a:t>
            </a:r>
            <a:r>
              <a:rPr lang="en-IN" sz="2585" b="1" dirty="0">
                <a:solidFill>
                  <a:srgbClr val="33CCC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?</a:t>
            </a:r>
          </a:p>
          <a:p>
            <a:pPr algn="r">
              <a:defRPr/>
            </a:pPr>
            <a:r>
              <a:rPr lang="en-US" sz="2585" b="1" dirty="0">
                <a:solidFill>
                  <a:schemeClr val="accent4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ffluent </a:t>
            </a:r>
            <a:r>
              <a:rPr lang="mr-IN" sz="2585" b="1" dirty="0">
                <a:solidFill>
                  <a:schemeClr val="accent4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ुठे नेला जातो</a:t>
            </a:r>
            <a:r>
              <a:rPr lang="en-US" sz="2585" b="1" dirty="0">
                <a:solidFill>
                  <a:schemeClr val="accent4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?</a:t>
            </a:r>
          </a:p>
          <a:p>
            <a:pPr>
              <a:defRPr/>
            </a:pPr>
            <a:r>
              <a:rPr lang="en-US" sz="2954" b="1" dirty="0">
                <a:solidFill>
                  <a:srgbClr val="15914B">
                    <a:lumMod val="60000"/>
                    <a:lumOff val="40000"/>
                  </a:srgb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LUDGE</a:t>
            </a:r>
            <a:r>
              <a:rPr lang="mr-IN" sz="2954" b="1" dirty="0">
                <a:solidFill>
                  <a:srgbClr val="15914B">
                    <a:lumMod val="60000"/>
                    <a:lumOff val="40000"/>
                  </a:srgb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चे काय केले जाते</a:t>
            </a:r>
            <a:r>
              <a:rPr lang="en-US" sz="2954" b="1" dirty="0">
                <a:solidFill>
                  <a:srgbClr val="15914B">
                    <a:lumMod val="60000"/>
                    <a:lumOff val="40000"/>
                  </a:srgb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? </a:t>
            </a:r>
            <a:r>
              <a:rPr lang="en-US" sz="2585" b="1" dirty="0">
                <a:solidFill>
                  <a:srgbClr val="15914B">
                    <a:lumMod val="60000"/>
                    <a:lumOff val="40000"/>
                  </a:srgbClr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                        </a:t>
            </a:r>
            <a:endParaRPr lang="en-IN" sz="1108" b="1" dirty="0">
              <a:solidFill>
                <a:srgbClr val="15914B">
                  <a:lumMod val="60000"/>
                  <a:lumOff val="40000"/>
                </a:srgb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0904" name="Rectangle 8"/>
          <p:cNvSpPr>
            <a:spLocks noChangeArrowheads="1"/>
          </p:cNvSpPr>
          <p:nvPr/>
        </p:nvSpPr>
        <p:spPr bwMode="auto">
          <a:xfrm>
            <a:off x="0" y="427893"/>
            <a:ext cx="9144000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954" b="1">
                <a:solidFill>
                  <a:srgbClr val="166A8C"/>
                </a:solidFill>
              </a:rPr>
              <a:t>Onsite sanitation </a:t>
            </a:r>
            <a:r>
              <a:rPr lang="mr-IN" altLang="en-US" sz="2954" b="1">
                <a:solidFill>
                  <a:srgbClr val="166A8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 मैला व्यवस्थापन</a:t>
            </a:r>
            <a:r>
              <a:rPr lang="en-US" altLang="en-US" sz="2954" b="1">
                <a:solidFill>
                  <a:srgbClr val="166A8C"/>
                </a:solidFill>
              </a:rPr>
              <a:t>– </a:t>
            </a:r>
            <a:r>
              <a:rPr lang="mr-IN" altLang="en-US" sz="2954" b="1">
                <a:solidFill>
                  <a:srgbClr val="166A8C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द्भवणारे प्रश्न </a:t>
            </a:r>
            <a:endParaRPr lang="en-IN" altLang="en-US" sz="2954" b="1">
              <a:solidFill>
                <a:srgbClr val="166A8C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8515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2"/>
          <p:cNvSpPr>
            <a:spLocks noGrp="1"/>
          </p:cNvSpPr>
          <p:nvPr>
            <p:ph type="title" idx="4294967295"/>
          </p:nvPr>
        </p:nvSpPr>
        <p:spPr>
          <a:xfrm>
            <a:off x="0" y="325316"/>
            <a:ext cx="9144000" cy="492369"/>
          </a:xfrm>
        </p:spPr>
        <p:txBody>
          <a:bodyPr/>
          <a:lstStyle/>
          <a:p>
            <a:pPr algn="ctr"/>
            <a:r>
              <a:rPr lang="en-IN" altLang="en-US" sz="2585" dirty="0">
                <a:solidFill>
                  <a:schemeClr val="bg1"/>
                </a:solidFill>
              </a:rPr>
              <a:t>Challenge</a:t>
            </a:r>
          </a:p>
        </p:txBody>
      </p:sp>
      <p:sp>
        <p:nvSpPr>
          <p:cNvPr id="29704" name="Rectangle 8"/>
          <p:cNvSpPr>
            <a:spLocks noChangeArrowheads="1"/>
          </p:cNvSpPr>
          <p:nvPr/>
        </p:nvSpPr>
        <p:spPr bwMode="auto">
          <a:xfrm>
            <a:off x="0" y="334108"/>
            <a:ext cx="9144000" cy="5469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nstantia" pitchFamily="18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itchFamily="18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itchFamily="18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itchFamily="18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itchFamily="18" charset="0"/>
              </a:defRPr>
            </a:lvl9pPr>
          </a:lstStyle>
          <a:p>
            <a:pPr algn="ctr"/>
            <a:r>
              <a:rPr lang="en-US" altLang="en-US" sz="2954" b="1" dirty="0">
                <a:solidFill>
                  <a:srgbClr val="166A8C"/>
                </a:solidFill>
              </a:rPr>
              <a:t>Ground realities of Sanitation Systems</a:t>
            </a:r>
            <a:endParaRPr lang="en-IN" altLang="en-US" sz="2954" b="1" dirty="0">
              <a:solidFill>
                <a:srgbClr val="166A8C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878" y="2564551"/>
            <a:ext cx="4441372" cy="40711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IN" sz="2585" b="1" dirty="0">
                <a:latin typeface="Century Schoolbook" pitchFamily="18" charset="0"/>
              </a:rPr>
              <a:t>Sewerage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>
                <a:latin typeface="Century Schoolbook" panose="02040604050505020304" pitchFamily="18" charset="0"/>
              </a:rPr>
              <a:t>Requires </a:t>
            </a: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high water demand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>
                <a:latin typeface="Century Schoolbook" panose="02040604050505020304" pitchFamily="18" charset="0"/>
              </a:rPr>
              <a:t>Only </a:t>
            </a: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31% treatment capacities </a:t>
            </a:r>
            <a:r>
              <a:rPr lang="en-US" sz="1939" dirty="0">
                <a:latin typeface="Century Schoolbook" panose="02040604050505020304" pitchFamily="18" charset="0"/>
              </a:rPr>
              <a:t>in cities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>
                <a:latin typeface="Century Schoolbook" panose="02040604050505020304" pitchFamily="18" charset="0"/>
              </a:rPr>
              <a:t>39% of STPs </a:t>
            </a: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do not conform to discharge standards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>
                <a:latin typeface="Century Schoolbook" panose="02040604050505020304" pitchFamily="18" charset="0"/>
              </a:rPr>
              <a:t>incur </a:t>
            </a: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higher expenses and energy demand </a:t>
            </a:r>
            <a:r>
              <a:rPr lang="en-US" sz="1939" dirty="0">
                <a:latin typeface="Century Schoolbook" panose="02040604050505020304" pitchFamily="18" charset="0"/>
              </a:rPr>
              <a:t>for operation and maintenance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/>
              <a:t>As per CAG reports, </a:t>
            </a:r>
            <a:r>
              <a:rPr lang="en-US" sz="1939" dirty="0">
                <a:solidFill>
                  <a:srgbClr val="C00000"/>
                </a:solidFill>
              </a:rPr>
              <a:t>STPs</a:t>
            </a:r>
            <a:r>
              <a:rPr lang="en-US" sz="1939" dirty="0"/>
              <a:t> often </a:t>
            </a:r>
            <a:r>
              <a:rPr lang="en-US" sz="1939" dirty="0">
                <a:solidFill>
                  <a:srgbClr val="C00000"/>
                </a:solidFill>
              </a:rPr>
              <a:t>do</a:t>
            </a:r>
            <a:r>
              <a:rPr lang="en-US" sz="1939" dirty="0">
                <a:solidFill>
                  <a:srgbClr val="FF0000"/>
                </a:solidFill>
              </a:rPr>
              <a:t> </a:t>
            </a:r>
            <a:r>
              <a:rPr lang="en-US" sz="1939" dirty="0">
                <a:solidFill>
                  <a:srgbClr val="C00000"/>
                </a:solidFill>
              </a:rPr>
              <a:t>not work well </a:t>
            </a:r>
            <a:r>
              <a:rPr lang="en-US" sz="1939" dirty="0"/>
              <a:t>as </a:t>
            </a:r>
            <a:r>
              <a:rPr lang="en-US" sz="1939" dirty="0">
                <a:solidFill>
                  <a:srgbClr val="C00000"/>
                </a:solidFill>
              </a:rPr>
              <a:t>households</a:t>
            </a:r>
            <a:r>
              <a:rPr lang="en-US" sz="1939" dirty="0"/>
              <a:t> </a:t>
            </a:r>
            <a:r>
              <a:rPr lang="en-US" sz="1939" dirty="0">
                <a:solidFill>
                  <a:srgbClr val="C00000"/>
                </a:solidFill>
              </a:rPr>
              <a:t>do not </a:t>
            </a:r>
            <a:r>
              <a:rPr lang="en-US" sz="1939" dirty="0"/>
              <a:t>always </a:t>
            </a:r>
            <a:r>
              <a:rPr lang="en-US" sz="1939" dirty="0">
                <a:solidFill>
                  <a:srgbClr val="C00000"/>
                </a:solidFill>
              </a:rPr>
              <a:t>take connection to sewerage </a:t>
            </a:r>
            <a:r>
              <a:rPr lang="en-US" sz="1939" dirty="0"/>
              <a:t>easily</a:t>
            </a:r>
            <a:endParaRPr lang="en-IN" sz="1939" dirty="0">
              <a:latin typeface="Century Schoolbook" panose="020406040505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72000" y="2586474"/>
            <a:ext cx="4572000" cy="287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IN" sz="2585" b="1" dirty="0">
                <a:latin typeface="Century Schoolbook" pitchFamily="18" charset="0"/>
              </a:rPr>
              <a:t>Onsite Sanitation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>
                <a:latin typeface="Century Schoolbook" panose="02040604050505020304" pitchFamily="18" charset="0"/>
              </a:rPr>
              <a:t>Septic tanks are </a:t>
            </a: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not connected to soak pits </a:t>
            </a:r>
            <a:r>
              <a:rPr lang="en-US" sz="1939" dirty="0">
                <a:latin typeface="Century Schoolbook" panose="02040604050505020304" pitchFamily="18" charset="0"/>
              </a:rPr>
              <a:t>or drains for effluent flow, and are </a:t>
            </a: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oversized /undersized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>
                <a:latin typeface="Century Schoolbook" panose="02040604050505020304" pitchFamily="18" charset="0"/>
              </a:rPr>
              <a:t>Suffer from </a:t>
            </a: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irregular cleaning</a:t>
            </a:r>
            <a:r>
              <a:rPr lang="en-US" sz="1939" dirty="0">
                <a:latin typeface="Century Schoolbook" panose="02040604050505020304" pitchFamily="18" charset="0"/>
              </a:rPr>
              <a:t> due to a lack of awareness</a:t>
            </a:r>
          </a:p>
          <a:p>
            <a:pPr marL="316531" indent="-316531">
              <a:buSzPct val="75000"/>
              <a:buFont typeface="Wingdings" panose="05000000000000000000" pitchFamily="2" charset="2"/>
              <a:buChar char="ü"/>
            </a:pPr>
            <a:r>
              <a:rPr lang="en-US" sz="1939" dirty="0">
                <a:solidFill>
                  <a:srgbClr val="C00000"/>
                </a:solidFill>
                <a:latin typeface="Century Schoolbook" panose="02040604050505020304" pitchFamily="18" charset="0"/>
              </a:rPr>
              <a:t>Improper disposal </a:t>
            </a:r>
            <a:r>
              <a:rPr lang="en-US" sz="1939" dirty="0">
                <a:latin typeface="Century Schoolbook" panose="02040604050505020304" pitchFamily="18" charset="0"/>
              </a:rPr>
              <a:t>of septic tank effluents and septage- Environment pollution</a:t>
            </a:r>
            <a:endParaRPr lang="en-IN" sz="1939" dirty="0">
              <a:latin typeface="Century Schoolbook" panose="02040604050505020304" pitchFamily="18" charset="0"/>
            </a:endParaRPr>
          </a:p>
        </p:txBody>
      </p:sp>
      <p:pic>
        <p:nvPicPr>
          <p:cNvPr id="13" name="Picture 5" descr="K:\SINNAR 26TH TO 28TH\SINNAR 26-06-12\Image1272.jpg"/>
          <p:cNvPicPr>
            <a:picLocks noChangeAspect="1" noChangeArrowheads="1"/>
          </p:cNvPicPr>
          <p:nvPr/>
        </p:nvPicPr>
        <p:blipFill>
          <a:blip r:embed="rId3">
            <a:lum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7000" y="957111"/>
            <a:ext cx="2128906" cy="1575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saurabh\Desktop\Sinnar_26 June\DSC07382.JPG"/>
          <p:cNvPicPr>
            <a:picLocks noChangeAspect="1" noChangeArrowheads="1"/>
          </p:cNvPicPr>
          <p:nvPr/>
        </p:nvPicPr>
        <p:blipFill>
          <a:blip r:embed="rId4">
            <a:lum contras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2839" y="1005675"/>
            <a:ext cx="2518807" cy="15404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7112"/>
            <a:ext cx="3467350" cy="15759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7700" y="957112"/>
            <a:ext cx="2019300" cy="15759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043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dirty="0" smtClean="0"/>
              <a:t>ODF </a:t>
            </a:r>
            <a:r>
              <a:rPr lang="mr-IN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 म्हणजे काय?</a:t>
            </a:r>
            <a:endParaRPr lang="en-IN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99524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Round Same Side Corner Rectangle 104"/>
          <p:cNvSpPr/>
          <p:nvPr/>
        </p:nvSpPr>
        <p:spPr>
          <a:xfrm>
            <a:off x="6090524" y="4267198"/>
            <a:ext cx="1409853" cy="514661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Low – on </a:t>
            </a:r>
          </a:p>
          <a:p>
            <a:r>
              <a:rPr lang="en-US" sz="1015" i="1" dirty="0">
                <a:solidFill>
                  <a:schemeClr val="accent1">
                    <a:lumMod val="75000"/>
                  </a:schemeClr>
                </a:solidFill>
              </a:rPr>
              <a:t>Service Provider</a:t>
            </a:r>
            <a:endParaRPr lang="en-US" sz="1015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6" name="Round Same Side Corner Rectangle 105"/>
          <p:cNvSpPr/>
          <p:nvPr/>
        </p:nvSpPr>
        <p:spPr>
          <a:xfrm>
            <a:off x="7538359" y="4272407"/>
            <a:ext cx="1394626" cy="514661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High – on </a:t>
            </a:r>
            <a:r>
              <a:rPr lang="en-US" sz="1015" i="1" dirty="0">
                <a:solidFill>
                  <a:schemeClr val="accent1">
                    <a:lumMod val="75000"/>
                  </a:schemeClr>
                </a:solidFill>
              </a:rPr>
              <a:t>Households</a:t>
            </a:r>
            <a:endParaRPr lang="en-US" sz="1015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2" name="Round Same Side Corner Rectangle 101"/>
          <p:cNvSpPr/>
          <p:nvPr/>
        </p:nvSpPr>
        <p:spPr>
          <a:xfrm>
            <a:off x="3738053" y="4277622"/>
            <a:ext cx="1396655" cy="514661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Low – on </a:t>
            </a:r>
          </a:p>
          <a:p>
            <a:r>
              <a:rPr lang="en-US" sz="1015" i="1" dirty="0">
                <a:solidFill>
                  <a:schemeClr val="accent1">
                    <a:lumMod val="75000"/>
                  </a:schemeClr>
                </a:solidFill>
              </a:rPr>
              <a:t>Households</a:t>
            </a:r>
            <a:endParaRPr lang="en-US" sz="1015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263770"/>
            <a:ext cx="9144000" cy="712177"/>
          </a:xfrm>
        </p:spPr>
        <p:txBody>
          <a:bodyPr>
            <a:normAutofit/>
          </a:bodyPr>
          <a:lstStyle/>
          <a:p>
            <a:pPr algn="ctr"/>
            <a:r>
              <a:rPr lang="en-US" sz="2954" dirty="0">
                <a:latin typeface="Palatino Linotype" pitchFamily="18" charset="0"/>
              </a:rPr>
              <a:t>Options for waste water management systems</a:t>
            </a:r>
            <a:endParaRPr lang="en-US" sz="2954" dirty="0"/>
          </a:p>
        </p:txBody>
      </p:sp>
      <p:sp>
        <p:nvSpPr>
          <p:cNvPr id="4" name="Rectangle 3"/>
          <p:cNvSpPr/>
          <p:nvPr/>
        </p:nvSpPr>
        <p:spPr>
          <a:xfrm>
            <a:off x="2377744" y="1125415"/>
            <a:ext cx="2886422" cy="595271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VENTIONAL SEWERAGE</a:t>
            </a:r>
          </a:p>
        </p:txBody>
      </p:sp>
      <p:sp>
        <p:nvSpPr>
          <p:cNvPr id="6" name="Rectangle 5"/>
          <p:cNvSpPr/>
          <p:nvPr/>
        </p:nvSpPr>
        <p:spPr>
          <a:xfrm>
            <a:off x="5756536" y="1107831"/>
            <a:ext cx="3376246" cy="612855"/>
          </a:xfrm>
          <a:prstGeom prst="rect">
            <a:avLst/>
          </a:prstGeom>
          <a:solidFill>
            <a:schemeClr val="bg2"/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SITE SANITATION</a:t>
            </a:r>
          </a:p>
        </p:txBody>
      </p:sp>
      <p:sp>
        <p:nvSpPr>
          <p:cNvPr id="9" name="Pentagon 8"/>
          <p:cNvSpPr/>
          <p:nvPr/>
        </p:nvSpPr>
        <p:spPr>
          <a:xfrm>
            <a:off x="163690" y="1723290"/>
            <a:ext cx="1655763" cy="463204"/>
          </a:xfrm>
          <a:prstGeom prst="homePlat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54" b="1" dirty="0">
                <a:solidFill>
                  <a:schemeClr val="bg1"/>
                </a:solidFill>
              </a:rPr>
              <a:t>Water Requirement</a:t>
            </a:r>
          </a:p>
        </p:txBody>
      </p:sp>
      <p:sp>
        <p:nvSpPr>
          <p:cNvPr id="10" name="Pentagon 9"/>
          <p:cNvSpPr/>
          <p:nvPr/>
        </p:nvSpPr>
        <p:spPr>
          <a:xfrm>
            <a:off x="163690" y="2375209"/>
            <a:ext cx="1655763" cy="463204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54" b="1" dirty="0">
                <a:solidFill>
                  <a:schemeClr val="bg1"/>
                </a:solidFill>
              </a:rPr>
              <a:t>Capital Costs</a:t>
            </a:r>
          </a:p>
        </p:txBody>
      </p:sp>
      <p:sp>
        <p:nvSpPr>
          <p:cNvPr id="11" name="Pentagon 10"/>
          <p:cNvSpPr/>
          <p:nvPr/>
        </p:nvSpPr>
        <p:spPr>
          <a:xfrm>
            <a:off x="173038" y="2937916"/>
            <a:ext cx="1655763" cy="463204"/>
          </a:xfrm>
          <a:prstGeom prst="homePlate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54" b="1" dirty="0">
                <a:solidFill>
                  <a:schemeClr val="bg1"/>
                </a:solidFill>
              </a:rPr>
              <a:t>O &amp; M Costs</a:t>
            </a:r>
          </a:p>
        </p:txBody>
      </p:sp>
      <p:sp>
        <p:nvSpPr>
          <p:cNvPr id="12" name="Pentagon 11"/>
          <p:cNvSpPr/>
          <p:nvPr/>
        </p:nvSpPr>
        <p:spPr>
          <a:xfrm>
            <a:off x="163690" y="4312001"/>
            <a:ext cx="1655763" cy="549243"/>
          </a:xfrm>
          <a:prstGeom prst="homePlate">
            <a:avLst/>
          </a:prstGeom>
          <a:solidFill>
            <a:srgbClr val="5727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54" b="1" dirty="0">
                <a:solidFill>
                  <a:schemeClr val="bg1"/>
                </a:solidFill>
              </a:rPr>
              <a:t>Maintenance requirement</a:t>
            </a:r>
          </a:p>
        </p:txBody>
      </p:sp>
      <p:sp>
        <p:nvSpPr>
          <p:cNvPr id="13" name="Pentagon 12"/>
          <p:cNvSpPr/>
          <p:nvPr/>
        </p:nvSpPr>
        <p:spPr>
          <a:xfrm>
            <a:off x="163690" y="3582687"/>
            <a:ext cx="1655763" cy="463204"/>
          </a:xfrm>
          <a:prstGeom prst="homePlat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54" b="1" dirty="0">
                <a:solidFill>
                  <a:schemeClr val="accent1">
                    <a:lumMod val="75000"/>
                  </a:schemeClr>
                </a:solidFill>
              </a:rPr>
              <a:t>Technical Expertise</a:t>
            </a:r>
          </a:p>
        </p:txBody>
      </p:sp>
      <p:sp>
        <p:nvSpPr>
          <p:cNvPr id="14" name="Pentagon 13"/>
          <p:cNvSpPr/>
          <p:nvPr/>
        </p:nvSpPr>
        <p:spPr>
          <a:xfrm>
            <a:off x="163690" y="4954000"/>
            <a:ext cx="1655763" cy="463204"/>
          </a:xfrm>
          <a:prstGeom prst="homePlate">
            <a:avLst/>
          </a:prstGeom>
          <a:solidFill>
            <a:srgbClr val="5727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54" b="1" dirty="0">
                <a:solidFill>
                  <a:schemeClr val="bg1"/>
                </a:solidFill>
              </a:rPr>
              <a:t>Required capacity to operate</a:t>
            </a:r>
          </a:p>
        </p:txBody>
      </p:sp>
      <p:sp>
        <p:nvSpPr>
          <p:cNvPr id="17" name="Round Same Side Corner Rectangle 16"/>
          <p:cNvSpPr/>
          <p:nvPr/>
        </p:nvSpPr>
        <p:spPr>
          <a:xfrm>
            <a:off x="2377744" y="1761319"/>
            <a:ext cx="2886423" cy="434038"/>
          </a:xfrm>
          <a:prstGeom prst="round2Same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High</a:t>
            </a:r>
          </a:p>
          <a:p>
            <a:pPr algn="ctr"/>
            <a:r>
              <a:rPr lang="en-US" sz="1108" dirty="0">
                <a:solidFill>
                  <a:schemeClr val="accent1">
                    <a:lumMod val="75000"/>
                  </a:schemeClr>
                </a:solidFill>
              </a:rPr>
              <a:t>(&gt;135lpcd)</a:t>
            </a:r>
          </a:p>
        </p:txBody>
      </p:sp>
      <p:sp>
        <p:nvSpPr>
          <p:cNvPr id="19" name="Round Same Side Corner Rectangle 18"/>
          <p:cNvSpPr/>
          <p:nvPr/>
        </p:nvSpPr>
        <p:spPr>
          <a:xfrm>
            <a:off x="5756536" y="1786835"/>
            <a:ext cx="3376246" cy="434038"/>
          </a:xfrm>
          <a:prstGeom prst="round2Same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Low</a:t>
            </a:r>
          </a:p>
        </p:txBody>
      </p:sp>
      <p:sp>
        <p:nvSpPr>
          <p:cNvPr id="23" name="Oval 22"/>
          <p:cNvSpPr/>
          <p:nvPr/>
        </p:nvSpPr>
        <p:spPr>
          <a:xfrm>
            <a:off x="4254146" y="1855388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25" name="Oval 24"/>
          <p:cNvSpPr/>
          <p:nvPr/>
        </p:nvSpPr>
        <p:spPr>
          <a:xfrm flipV="1">
            <a:off x="7948247" y="1869971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28" name="Round Same Side Corner Rectangle 27"/>
          <p:cNvSpPr/>
          <p:nvPr/>
        </p:nvSpPr>
        <p:spPr>
          <a:xfrm>
            <a:off x="2388962" y="2414668"/>
            <a:ext cx="2886423" cy="434038"/>
          </a:xfrm>
          <a:prstGeom prst="round2Same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High</a:t>
            </a:r>
          </a:p>
        </p:txBody>
      </p:sp>
      <p:sp>
        <p:nvSpPr>
          <p:cNvPr id="30" name="Round Same Side Corner Rectangle 29"/>
          <p:cNvSpPr/>
          <p:nvPr/>
        </p:nvSpPr>
        <p:spPr>
          <a:xfrm>
            <a:off x="5767754" y="2414668"/>
            <a:ext cx="3376246" cy="434038"/>
          </a:xfrm>
          <a:prstGeom prst="round2Same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Low</a:t>
            </a:r>
          </a:p>
        </p:txBody>
      </p:sp>
      <p:sp>
        <p:nvSpPr>
          <p:cNvPr id="31" name="Oval 30"/>
          <p:cNvSpPr/>
          <p:nvPr/>
        </p:nvSpPr>
        <p:spPr>
          <a:xfrm>
            <a:off x="4265364" y="2509021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33" name="Oval 32"/>
          <p:cNvSpPr/>
          <p:nvPr/>
        </p:nvSpPr>
        <p:spPr>
          <a:xfrm flipV="1">
            <a:off x="7959465" y="2479855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42" name="Round Same Side Corner Rectangle 41"/>
          <p:cNvSpPr/>
          <p:nvPr/>
        </p:nvSpPr>
        <p:spPr>
          <a:xfrm>
            <a:off x="2396788" y="4282834"/>
            <a:ext cx="1291718" cy="514661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High – on </a:t>
            </a:r>
            <a:r>
              <a:rPr lang="en-US" sz="1015" i="1" dirty="0">
                <a:solidFill>
                  <a:schemeClr val="accent1">
                    <a:lumMod val="75000"/>
                  </a:schemeClr>
                </a:solidFill>
              </a:rPr>
              <a:t>Service Provider</a:t>
            </a:r>
            <a:endParaRPr lang="en-US" sz="1015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9" name="Oval 48"/>
          <p:cNvSpPr/>
          <p:nvPr/>
        </p:nvSpPr>
        <p:spPr>
          <a:xfrm>
            <a:off x="3411169" y="4396152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50" name="Oval 49"/>
          <p:cNvSpPr/>
          <p:nvPr/>
        </p:nvSpPr>
        <p:spPr>
          <a:xfrm flipV="1">
            <a:off x="4687395" y="4407875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35" name="Round Same Side Corner Rectangle 34"/>
          <p:cNvSpPr/>
          <p:nvPr/>
        </p:nvSpPr>
        <p:spPr>
          <a:xfrm>
            <a:off x="2388962" y="2919044"/>
            <a:ext cx="2886423" cy="434038"/>
          </a:xfrm>
          <a:prstGeom prst="round2Same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High</a:t>
            </a:r>
          </a:p>
        </p:txBody>
      </p:sp>
      <p:sp>
        <p:nvSpPr>
          <p:cNvPr id="37" name="Round Same Side Corner Rectangle 36"/>
          <p:cNvSpPr/>
          <p:nvPr/>
        </p:nvSpPr>
        <p:spPr>
          <a:xfrm>
            <a:off x="5767754" y="2939631"/>
            <a:ext cx="3376246" cy="434038"/>
          </a:xfrm>
          <a:prstGeom prst="round2Same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Low</a:t>
            </a:r>
          </a:p>
        </p:txBody>
      </p:sp>
      <p:sp>
        <p:nvSpPr>
          <p:cNvPr id="38" name="Oval 37"/>
          <p:cNvSpPr/>
          <p:nvPr/>
        </p:nvSpPr>
        <p:spPr>
          <a:xfrm>
            <a:off x="4265364" y="3001106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40" name="Oval 39"/>
          <p:cNvSpPr/>
          <p:nvPr/>
        </p:nvSpPr>
        <p:spPr>
          <a:xfrm flipV="1">
            <a:off x="7959465" y="3007394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63" name="Oval 62"/>
          <p:cNvSpPr/>
          <p:nvPr/>
        </p:nvSpPr>
        <p:spPr>
          <a:xfrm>
            <a:off x="8581293" y="4384429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65" name="Round Same Side Corner Rectangle 64"/>
          <p:cNvSpPr/>
          <p:nvPr/>
        </p:nvSpPr>
        <p:spPr>
          <a:xfrm>
            <a:off x="2500293" y="3563813"/>
            <a:ext cx="1188213" cy="523732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High-</a:t>
            </a:r>
            <a:r>
              <a:rPr lang="en-US" sz="1015" i="1" dirty="0">
                <a:solidFill>
                  <a:schemeClr val="accent1">
                    <a:lumMod val="75000"/>
                  </a:schemeClr>
                </a:solidFill>
              </a:rPr>
              <a:t>Conveyance</a:t>
            </a:r>
          </a:p>
        </p:txBody>
      </p:sp>
      <p:sp>
        <p:nvSpPr>
          <p:cNvPr id="66" name="Round Same Side Corner Rectangle 65"/>
          <p:cNvSpPr/>
          <p:nvPr/>
        </p:nvSpPr>
        <p:spPr>
          <a:xfrm>
            <a:off x="3738053" y="3575823"/>
            <a:ext cx="1396655" cy="523732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High -</a:t>
            </a:r>
          </a:p>
          <a:p>
            <a:r>
              <a:rPr lang="en-US" sz="1015" i="1" dirty="0">
                <a:solidFill>
                  <a:schemeClr val="accent1">
                    <a:lumMod val="75000"/>
                  </a:schemeClr>
                </a:solidFill>
              </a:rPr>
              <a:t>Treatment</a:t>
            </a:r>
          </a:p>
        </p:txBody>
      </p:sp>
      <p:sp>
        <p:nvSpPr>
          <p:cNvPr id="67" name="Oval 66"/>
          <p:cNvSpPr/>
          <p:nvPr/>
        </p:nvSpPr>
        <p:spPr>
          <a:xfrm>
            <a:off x="3300953" y="3678185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68" name="Oval 67"/>
          <p:cNvSpPr/>
          <p:nvPr/>
        </p:nvSpPr>
        <p:spPr>
          <a:xfrm>
            <a:off x="4485185" y="3692767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75" name="Round Same Side Corner Rectangle 74"/>
          <p:cNvSpPr/>
          <p:nvPr/>
        </p:nvSpPr>
        <p:spPr>
          <a:xfrm>
            <a:off x="6096149" y="3580970"/>
            <a:ext cx="1418344" cy="523732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Low –</a:t>
            </a:r>
          </a:p>
          <a:p>
            <a:r>
              <a:rPr lang="en-US" sz="969" i="1" dirty="0">
                <a:solidFill>
                  <a:schemeClr val="accent1">
                    <a:lumMod val="75000"/>
                  </a:schemeClr>
                </a:solidFill>
              </a:rPr>
              <a:t>Conveyance</a:t>
            </a:r>
          </a:p>
        </p:txBody>
      </p:sp>
      <p:sp>
        <p:nvSpPr>
          <p:cNvPr id="76" name="Round Same Side Corner Rectangle 75"/>
          <p:cNvSpPr/>
          <p:nvPr/>
        </p:nvSpPr>
        <p:spPr>
          <a:xfrm>
            <a:off x="7545603" y="3592979"/>
            <a:ext cx="1372590" cy="523732"/>
          </a:xfrm>
          <a:prstGeom prst="round2Same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77" dirty="0">
                <a:solidFill>
                  <a:schemeClr val="accent1">
                    <a:lumMod val="75000"/>
                  </a:schemeClr>
                </a:solidFill>
              </a:rPr>
              <a:t>Low –</a:t>
            </a:r>
          </a:p>
          <a:p>
            <a:r>
              <a:rPr lang="en-US" sz="969" i="1" dirty="0">
                <a:solidFill>
                  <a:schemeClr val="accent1">
                    <a:lumMod val="75000"/>
                  </a:schemeClr>
                </a:solidFill>
              </a:rPr>
              <a:t>Treatment</a:t>
            </a:r>
          </a:p>
        </p:txBody>
      </p:sp>
      <p:sp>
        <p:nvSpPr>
          <p:cNvPr id="77" name="Oval 76"/>
          <p:cNvSpPr/>
          <p:nvPr/>
        </p:nvSpPr>
        <p:spPr>
          <a:xfrm flipV="1">
            <a:off x="6938226" y="3692767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78" name="Oval 77"/>
          <p:cNvSpPr/>
          <p:nvPr/>
        </p:nvSpPr>
        <p:spPr>
          <a:xfrm flipV="1">
            <a:off x="8274657" y="3718500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82" name="Round Same Side Corner Rectangle 81"/>
          <p:cNvSpPr/>
          <p:nvPr/>
        </p:nvSpPr>
        <p:spPr>
          <a:xfrm>
            <a:off x="2377744" y="4947137"/>
            <a:ext cx="2886423" cy="434038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High</a:t>
            </a:r>
          </a:p>
        </p:txBody>
      </p:sp>
      <p:sp>
        <p:nvSpPr>
          <p:cNvPr id="84" name="Round Same Side Corner Rectangle 83"/>
          <p:cNvSpPr/>
          <p:nvPr/>
        </p:nvSpPr>
        <p:spPr>
          <a:xfrm>
            <a:off x="5756536" y="4967723"/>
            <a:ext cx="3376246" cy="434038"/>
          </a:xfrm>
          <a:prstGeom prst="round2Same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Low</a:t>
            </a:r>
          </a:p>
        </p:txBody>
      </p:sp>
      <p:sp>
        <p:nvSpPr>
          <p:cNvPr id="85" name="Oval 84"/>
          <p:cNvSpPr/>
          <p:nvPr/>
        </p:nvSpPr>
        <p:spPr>
          <a:xfrm>
            <a:off x="4149970" y="5052644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87" name="Oval 86"/>
          <p:cNvSpPr/>
          <p:nvPr/>
        </p:nvSpPr>
        <p:spPr>
          <a:xfrm flipV="1">
            <a:off x="7877908" y="5043781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cxnSp>
        <p:nvCxnSpPr>
          <p:cNvPr id="90" name="Straight Connector 89"/>
          <p:cNvCxnSpPr/>
          <p:nvPr/>
        </p:nvCxnSpPr>
        <p:spPr>
          <a:xfrm>
            <a:off x="11289" y="2291314"/>
            <a:ext cx="9144000" cy="1466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>
            <a:off x="-16935" y="3481752"/>
            <a:ext cx="9144000" cy="1466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/>
        </p:nvCxnSpPr>
        <p:spPr>
          <a:xfrm>
            <a:off x="-11292" y="4196860"/>
            <a:ext cx="9144000" cy="1466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Oval 106"/>
          <p:cNvSpPr/>
          <p:nvPr/>
        </p:nvSpPr>
        <p:spPr>
          <a:xfrm flipV="1">
            <a:off x="7149241" y="4397615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cxnSp>
        <p:nvCxnSpPr>
          <p:cNvPr id="111" name="Straight Connector 110"/>
          <p:cNvCxnSpPr/>
          <p:nvPr/>
        </p:nvCxnSpPr>
        <p:spPr>
          <a:xfrm>
            <a:off x="5486400" y="1362400"/>
            <a:ext cx="0" cy="4704436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/>
        </p:nvCxnSpPr>
        <p:spPr>
          <a:xfrm>
            <a:off x="1970271" y="1362402"/>
            <a:ext cx="0" cy="4704432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>
            <a:off x="-5649" y="5486398"/>
            <a:ext cx="9144000" cy="1466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Pentagon 51"/>
          <p:cNvSpPr/>
          <p:nvPr/>
        </p:nvSpPr>
        <p:spPr>
          <a:xfrm>
            <a:off x="163689" y="5591906"/>
            <a:ext cx="1655763" cy="463204"/>
          </a:xfrm>
          <a:prstGeom prst="homePlat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54" b="1" dirty="0">
                <a:solidFill>
                  <a:schemeClr val="bg1"/>
                </a:solidFill>
              </a:rPr>
              <a:t>Implementation challenges</a:t>
            </a:r>
          </a:p>
        </p:txBody>
      </p:sp>
      <p:sp>
        <p:nvSpPr>
          <p:cNvPr id="53" name="Round Same Side Corner Rectangle 52"/>
          <p:cNvSpPr/>
          <p:nvPr/>
        </p:nvSpPr>
        <p:spPr>
          <a:xfrm>
            <a:off x="2377239" y="5612208"/>
            <a:ext cx="2886423" cy="434038"/>
          </a:xfrm>
          <a:prstGeom prst="round2Same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High</a:t>
            </a:r>
          </a:p>
        </p:txBody>
      </p:sp>
      <p:sp>
        <p:nvSpPr>
          <p:cNvPr id="54" name="Round Same Side Corner Rectangle 53"/>
          <p:cNvSpPr/>
          <p:nvPr/>
        </p:nvSpPr>
        <p:spPr>
          <a:xfrm>
            <a:off x="5756031" y="5632795"/>
            <a:ext cx="3376246" cy="434038"/>
          </a:xfrm>
          <a:prstGeom prst="round2Same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dirty="0">
                <a:solidFill>
                  <a:schemeClr val="accent1">
                    <a:lumMod val="75000"/>
                  </a:schemeClr>
                </a:solidFill>
              </a:rPr>
              <a:t>Low</a:t>
            </a:r>
          </a:p>
        </p:txBody>
      </p:sp>
      <p:sp>
        <p:nvSpPr>
          <p:cNvPr id="55" name="Oval 54"/>
          <p:cNvSpPr/>
          <p:nvPr/>
        </p:nvSpPr>
        <p:spPr>
          <a:xfrm>
            <a:off x="4253641" y="5694269"/>
            <a:ext cx="306636" cy="281354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sp>
        <p:nvSpPr>
          <p:cNvPr id="56" name="Oval 55"/>
          <p:cNvSpPr/>
          <p:nvPr/>
        </p:nvSpPr>
        <p:spPr>
          <a:xfrm flipV="1">
            <a:off x="7947742" y="5700557"/>
            <a:ext cx="306636" cy="281354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</p:spTree>
    <p:extLst>
      <p:ext uri="{BB962C8B-B14F-4D97-AF65-F5344CB8AC3E}">
        <p14:creationId xmlns:p14="http://schemas.microsoft.com/office/powerpoint/2010/main" val="3271689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Title 3"/>
          <p:cNvSpPr>
            <a:spLocks noGrp="1"/>
          </p:cNvSpPr>
          <p:nvPr>
            <p:ph type="title"/>
          </p:nvPr>
        </p:nvSpPr>
        <p:spPr>
          <a:xfrm>
            <a:off x="-5861" y="152400"/>
            <a:ext cx="9296399" cy="577604"/>
          </a:xfrm>
        </p:spPr>
        <p:txBody>
          <a:bodyPr>
            <a:noAutofit/>
          </a:bodyPr>
          <a:lstStyle/>
          <a:p>
            <a:r>
              <a:rPr lang="mr-IN" altLang="en-US" sz="2300" b="1" dirty="0"/>
              <a:t>S</a:t>
            </a:r>
            <a:r>
              <a:rPr lang="en-US" altLang="en-US" sz="2300" b="1" dirty="0" err="1"/>
              <a:t>eptage</a:t>
            </a:r>
            <a:r>
              <a:rPr lang="en-US" altLang="en-US" sz="2300" b="1" dirty="0"/>
              <a:t> </a:t>
            </a:r>
            <a:r>
              <a:rPr lang="mr-IN" altLang="en-US" sz="2300" b="1" dirty="0"/>
              <a:t>M</a:t>
            </a:r>
            <a:r>
              <a:rPr lang="en-US" altLang="en-US" sz="2300" b="1" dirty="0" err="1"/>
              <a:t>anagement</a:t>
            </a:r>
            <a:r>
              <a:rPr lang="en-US" altLang="en-US" sz="2300" b="1" dirty="0"/>
              <a:t> / FSM</a:t>
            </a:r>
            <a:r>
              <a:rPr lang="mr-IN" altLang="en-US" sz="2300" b="1" dirty="0"/>
              <a:t> </a:t>
            </a:r>
            <a:r>
              <a:rPr lang="mr-IN" altLang="en-US" sz="23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ची गरज </a:t>
            </a:r>
            <a:r>
              <a:rPr lang="mr-IN" altLang="en-US" sz="23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ासनाकडून अधोरेखित </a:t>
            </a:r>
            <a:r>
              <a:rPr lang="mr-IN" altLang="en-US" sz="23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ेली जात आहे </a:t>
            </a:r>
            <a:endParaRPr lang="en-US" altLang="en-US" sz="23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7763" name="Content Placeholder 3"/>
          <p:cNvSpPr>
            <a:spLocks noGrp="1"/>
          </p:cNvSpPr>
          <p:nvPr>
            <p:ph sz="quarter" idx="1"/>
          </p:nvPr>
        </p:nvSpPr>
        <p:spPr>
          <a:xfrm>
            <a:off x="140677" y="5046785"/>
            <a:ext cx="8862646" cy="1452197"/>
          </a:xfrm>
        </p:spPr>
        <p:txBody>
          <a:bodyPr>
            <a:noAutofit/>
          </a:bodyPr>
          <a:lstStyle/>
          <a:p>
            <a:pPr marL="474796" indent="-474796">
              <a:buFont typeface="Wingdings" panose="05000000000000000000" pitchFamily="2" charset="2"/>
              <a:buChar char="q"/>
              <a:defRPr/>
            </a:pPr>
            <a:r>
              <a:rPr lang="mr-IN" altLang="en-US" sz="2400" b="1" dirty="0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NUSP च्या CSP Manual </a:t>
            </a:r>
            <a:r>
              <a:rPr lang="mr-IN" altLang="en-US" sz="1662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माणे </a:t>
            </a:r>
            <a:r>
              <a:rPr lang="mr-IN" altLang="en-US" sz="1846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 स्वच्छता आराखडा बनविताना </a:t>
            </a:r>
            <a:r>
              <a:rPr lang="en-IN" altLang="en-US" sz="1846" b="1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ptage</a:t>
            </a:r>
            <a:r>
              <a:rPr lang="en-IN" altLang="en-US" sz="1846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Management Plan (SMP)</a:t>
            </a:r>
            <a:r>
              <a:rPr lang="mr-IN" altLang="en-US" sz="1846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altLang="en-US" sz="1662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नविणे गरजेचे </a:t>
            </a:r>
            <a:r>
              <a:rPr lang="mr-IN" altLang="en-US" sz="1662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आहे</a:t>
            </a:r>
            <a:endParaRPr lang="en-IN" altLang="en-US" sz="969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474796" indent="-474796">
              <a:buFont typeface="Wingdings" panose="05000000000000000000" pitchFamily="2" charset="2"/>
              <a:buChar char="q"/>
              <a:defRPr/>
            </a:pPr>
            <a:r>
              <a:rPr lang="mr-IN" altLang="en-US" sz="1569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ptage Management Plan बनविण्यासाठी </a:t>
            </a:r>
            <a:r>
              <a:rPr lang="mr-IN" altLang="en-US" sz="2600" b="1" dirty="0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भारत सरकारच्या </a:t>
            </a:r>
            <a:r>
              <a:rPr lang="en-IN" altLang="en-US" sz="2600" b="1" dirty="0" err="1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eptage</a:t>
            </a:r>
            <a:r>
              <a:rPr lang="en-IN" altLang="en-US" sz="2600" b="1" dirty="0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Management Advisory</a:t>
            </a:r>
            <a:r>
              <a:rPr lang="mr-IN" altLang="en-US" sz="2600" b="1" dirty="0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altLang="en-US" sz="1569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ध्ये , </a:t>
            </a:r>
            <a:r>
              <a:rPr lang="en-IN" altLang="en-US" sz="1569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CPHEEO guidelines, BIS standards, and </a:t>
            </a:r>
            <a:r>
              <a:rPr lang="mr-IN" altLang="en-US" sz="1569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इतर काही स्त्रोतांचे संदर्भ दिले आहेत </a:t>
            </a:r>
            <a:r>
              <a:rPr lang="en-IN" altLang="en-US" sz="1569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</a:p>
        </p:txBody>
      </p:sp>
      <p:pic>
        <p:nvPicPr>
          <p:cNvPr id="8294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62" t="9557" r="36389" b="25198"/>
          <a:stretch>
            <a:fillRect/>
          </a:stretch>
        </p:blipFill>
        <p:spPr bwMode="auto">
          <a:xfrm>
            <a:off x="4642339" y="1148861"/>
            <a:ext cx="4082562" cy="3827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949" name="Group 1"/>
          <p:cNvGrpSpPr>
            <a:grpSpLocks/>
          </p:cNvGrpSpPr>
          <p:nvPr/>
        </p:nvGrpSpPr>
        <p:grpSpPr bwMode="auto">
          <a:xfrm>
            <a:off x="773724" y="1112228"/>
            <a:ext cx="3450981" cy="3864219"/>
            <a:chOff x="381000" y="919764"/>
            <a:chExt cx="2919537" cy="3268664"/>
          </a:xfrm>
        </p:grpSpPr>
        <p:pic>
          <p:nvPicPr>
            <p:cNvPr id="8295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38" t="11334" r="37778" b="35046"/>
            <a:stretch>
              <a:fillRect/>
            </a:stretch>
          </p:blipFill>
          <p:spPr bwMode="auto">
            <a:xfrm>
              <a:off x="381000" y="919764"/>
              <a:ext cx="2919537" cy="22806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2951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7" t="22000" r="8888" b="37334"/>
            <a:stretch>
              <a:fillRect/>
            </a:stretch>
          </p:blipFill>
          <p:spPr bwMode="auto">
            <a:xfrm>
              <a:off x="411162" y="3285141"/>
              <a:ext cx="2865438" cy="90328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2967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129029"/>
            <a:ext cx="8891953" cy="492369"/>
          </a:xfrm>
        </p:spPr>
        <p:txBody>
          <a:bodyPr>
            <a:noAutofit/>
          </a:bodyPr>
          <a:lstStyle/>
          <a:p>
            <a:r>
              <a:rPr lang="mr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S</a:t>
            </a:r>
            <a:r>
              <a:rPr lang="en-IN" sz="2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ptage</a:t>
            </a:r>
            <a:r>
              <a:rPr lang="en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M</a:t>
            </a:r>
            <a:r>
              <a:rPr lang="en-IN" sz="24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anagement</a:t>
            </a:r>
            <a:r>
              <a:rPr lang="en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ंदर्भात नगरपरिषद संचालनालयाकडून देण्यात आलेल्या मार्गदर्शक सूचना  </a:t>
            </a:r>
            <a:endParaRPr lang="en-IN" sz="24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/>
          <a:srcRect l="17237" t="3738" r="16640" b="21511"/>
          <a:stretch/>
        </p:blipFill>
        <p:spPr>
          <a:xfrm>
            <a:off x="5064369" y="1039273"/>
            <a:ext cx="3376246" cy="2967714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4542693" y="4480205"/>
            <a:ext cx="4566138" cy="2096441"/>
            <a:chOff x="4572001" y="-74377"/>
            <a:chExt cx="6686549" cy="28956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2001" y="-74377"/>
              <a:ext cx="6657975" cy="1524000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48200" y="1449623"/>
              <a:ext cx="6610350" cy="1371600"/>
            </a:xfrm>
            <a:prstGeom prst="rect">
              <a:avLst/>
            </a:prstGeom>
          </p:spPr>
        </p:pic>
      </p:grpSp>
      <p:sp>
        <p:nvSpPr>
          <p:cNvPr id="13" name="Title 2"/>
          <p:cNvSpPr txBox="1">
            <a:spLocks/>
          </p:cNvSpPr>
          <p:nvPr/>
        </p:nvSpPr>
        <p:spPr>
          <a:xfrm>
            <a:off x="4079631" y="3991708"/>
            <a:ext cx="5064369" cy="492369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IN" sz="2000" dirty="0"/>
              <a:t>Table of Content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-9310" y="1039273"/>
            <a:ext cx="3985075" cy="5554958"/>
            <a:chOff x="548241" y="762000"/>
            <a:chExt cx="13452350" cy="24448198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5"/>
            <a:srcRect t="4747"/>
            <a:stretch/>
          </p:blipFill>
          <p:spPr>
            <a:xfrm>
              <a:off x="609600" y="762000"/>
              <a:ext cx="13390991" cy="18660048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6"/>
            <a:srcRect t="16819" b="4308"/>
            <a:stretch/>
          </p:blipFill>
          <p:spPr>
            <a:xfrm>
              <a:off x="548241" y="9649324"/>
              <a:ext cx="13452350" cy="15560874"/>
            </a:xfrm>
            <a:prstGeom prst="rect">
              <a:avLst/>
            </a:prstGeom>
          </p:spPr>
        </p:pic>
      </p:grpSp>
      <p:sp>
        <p:nvSpPr>
          <p:cNvPr id="8" name="Rectangle 7"/>
          <p:cNvSpPr/>
          <p:nvPr/>
        </p:nvSpPr>
        <p:spPr>
          <a:xfrm>
            <a:off x="0" y="965865"/>
            <a:ext cx="4360984" cy="5609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62" dirty="0"/>
              <a:t>Guidelines on </a:t>
            </a:r>
            <a:r>
              <a:rPr lang="en-IN" sz="1662" dirty="0" err="1"/>
              <a:t>Septage</a:t>
            </a:r>
            <a:r>
              <a:rPr lang="en-IN" sz="1662" dirty="0"/>
              <a:t> Management – </a:t>
            </a:r>
          </a:p>
          <a:p>
            <a:pPr algn="ctr"/>
            <a:r>
              <a:rPr lang="en-IN" sz="1662" dirty="0"/>
              <a:t>DMA Office, December 2014</a:t>
            </a:r>
          </a:p>
        </p:txBody>
      </p:sp>
    </p:spTree>
    <p:extLst>
      <p:ext uri="{BB962C8B-B14F-4D97-AF65-F5344CB8AC3E}">
        <p14:creationId xmlns:p14="http://schemas.microsoft.com/office/powerpoint/2010/main" val="2436762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"/>
          </p:nvPr>
        </p:nvSpPr>
        <p:spPr>
          <a:xfrm>
            <a:off x="451283" y="1253940"/>
            <a:ext cx="4470341" cy="4783015"/>
          </a:xfrm>
        </p:spPr>
        <p:txBody>
          <a:bodyPr>
            <a:noAutofit/>
          </a:bodyPr>
          <a:lstStyle/>
          <a:p>
            <a:r>
              <a:rPr lang="en-IN" sz="2000" b="1" dirty="0"/>
              <a:t>III. Fourteenth Finance Commission (</a:t>
            </a:r>
            <a:r>
              <a:rPr lang="en-IN" sz="2000" b="1" dirty="0" err="1"/>
              <a:t>pg</a:t>
            </a:r>
            <a:r>
              <a:rPr lang="en-IN" sz="2000" b="1" dirty="0"/>
              <a:t> 55)</a:t>
            </a:r>
          </a:p>
          <a:p>
            <a:pPr marL="0" indent="0">
              <a:buNone/>
            </a:pPr>
            <a:r>
              <a:rPr lang="en-IN" sz="2000" b="1" dirty="0"/>
              <a:t/>
            </a:r>
            <a:br>
              <a:rPr lang="en-IN" sz="2000" b="1" dirty="0"/>
            </a:br>
            <a:r>
              <a:rPr lang="en-IN" sz="2000" dirty="0"/>
              <a:t>(vii)</a:t>
            </a:r>
            <a:r>
              <a:rPr lang="en-IN" sz="2000" b="1" dirty="0"/>
              <a:t> </a:t>
            </a:r>
            <a:r>
              <a:rPr lang="en-IN" sz="2000" b="1" dirty="0">
                <a:solidFill>
                  <a:srgbClr val="C00000"/>
                </a:solidFill>
              </a:rPr>
              <a:t>The grants provided to the Local Bodies under the 14th Finance Commission are to be utilised </a:t>
            </a:r>
            <a:r>
              <a:rPr lang="en-IN" sz="2000" dirty="0"/>
              <a:t>over a range of services being provided by the GPs/ULBs to improve the status of basic civic services including water supply, </a:t>
            </a:r>
            <a:r>
              <a:rPr lang="en-IN" sz="2000" b="1" dirty="0">
                <a:solidFill>
                  <a:srgbClr val="C00000"/>
                </a:solidFill>
              </a:rPr>
              <a:t>sanitation including </a:t>
            </a:r>
            <a:r>
              <a:rPr lang="en-IN" sz="2000" b="1" dirty="0" err="1">
                <a:solidFill>
                  <a:srgbClr val="C00000"/>
                </a:solidFill>
              </a:rPr>
              <a:t>septage</a:t>
            </a:r>
            <a:r>
              <a:rPr lang="en-IN" sz="2000" b="1" dirty="0">
                <a:solidFill>
                  <a:srgbClr val="C00000"/>
                </a:solidFill>
              </a:rPr>
              <a:t> management</a:t>
            </a:r>
            <a:r>
              <a:rPr lang="en-IN" sz="2000" dirty="0"/>
              <a:t>, sewerage and solid waste management, storm water drainage, maintenance of community assets, maintenance of roads, footpaths and street-lighting, and burial and cremation grounds</a:t>
            </a:r>
            <a:br>
              <a:rPr lang="en-IN" sz="2000" dirty="0"/>
            </a:br>
            <a:r>
              <a:rPr lang="en-IN" sz="2000" dirty="0"/>
              <a:t/>
            </a:r>
            <a:br>
              <a:rPr lang="en-IN" sz="2000" dirty="0"/>
            </a:br>
            <a:endParaRPr lang="en-IN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17945" y="152400"/>
            <a:ext cx="7886700" cy="581729"/>
          </a:xfrm>
        </p:spPr>
        <p:txBody>
          <a:bodyPr>
            <a:normAutofit fontScale="90000"/>
          </a:bodyPr>
          <a:lstStyle/>
          <a:p>
            <a:r>
              <a:rPr lang="mr-IN" sz="3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िती आयोग अहवाल, ऑक्टोबर २०१५</a:t>
            </a:r>
            <a:endParaRPr lang="en-IN" sz="3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56738" y="965861"/>
            <a:ext cx="3206262" cy="4538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723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00" y="99175"/>
            <a:ext cx="8987183" cy="492369"/>
          </a:xfrm>
        </p:spPr>
        <p:txBody>
          <a:bodyPr>
            <a:noAutofit/>
          </a:bodyPr>
          <a:lstStyle/>
          <a:p>
            <a:r>
              <a:rPr lang="en-US" sz="2400" b="1" dirty="0"/>
              <a:t>Current situation of septage management in Small – Medium towns of Maharashtra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" y="1178170"/>
            <a:ext cx="9146309" cy="4864602"/>
            <a:chOff x="1" y="990601"/>
            <a:chExt cx="9908501" cy="5269985"/>
          </a:xfrm>
        </p:grpSpPr>
        <p:grpSp>
          <p:nvGrpSpPr>
            <p:cNvPr id="2" name="Group 1"/>
            <p:cNvGrpSpPr/>
            <p:nvPr/>
          </p:nvGrpSpPr>
          <p:grpSpPr>
            <a:xfrm>
              <a:off x="1" y="990601"/>
              <a:ext cx="9908501" cy="5269985"/>
              <a:chOff x="1" y="990601"/>
              <a:chExt cx="9908501" cy="5269985"/>
            </a:xfrm>
          </p:grpSpPr>
          <p:grpSp>
            <p:nvGrpSpPr>
              <p:cNvPr id="73" name="Group 72"/>
              <p:cNvGrpSpPr/>
              <p:nvPr/>
            </p:nvGrpSpPr>
            <p:grpSpPr>
              <a:xfrm>
                <a:off x="1" y="990601"/>
                <a:ext cx="9908501" cy="5269985"/>
                <a:chOff x="0" y="370785"/>
                <a:chExt cx="9146531" cy="4874882"/>
              </a:xfrm>
            </p:grpSpPr>
            <p:grpSp>
              <p:nvGrpSpPr>
                <p:cNvPr id="74" name="Group 34"/>
                <p:cNvGrpSpPr/>
                <p:nvPr/>
              </p:nvGrpSpPr>
              <p:grpSpPr>
                <a:xfrm>
                  <a:off x="0" y="370785"/>
                  <a:ext cx="9146531" cy="3037236"/>
                  <a:chOff x="0" y="370785"/>
                  <a:chExt cx="9146531" cy="3037236"/>
                </a:xfrm>
              </p:grpSpPr>
              <p:sp>
                <p:nvSpPr>
                  <p:cNvPr id="76" name="Rectangle 75"/>
                  <p:cNvSpPr/>
                  <p:nvPr/>
                </p:nvSpPr>
                <p:spPr>
                  <a:xfrm>
                    <a:off x="1905000" y="573310"/>
                    <a:ext cx="1632857" cy="1796143"/>
                  </a:xfrm>
                  <a:prstGeom prst="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endParaRPr lang="en-US" sz="831" kern="0">
                      <a:solidFill>
                        <a:prstClr val="white"/>
                      </a:solidFill>
                      <a:latin typeface="Century Gothic" pitchFamily="34" charset="0"/>
                    </a:endParaRPr>
                  </a:p>
                </p:txBody>
              </p:sp>
              <p:sp>
                <p:nvSpPr>
                  <p:cNvPr id="77" name="Rectangle 76"/>
                  <p:cNvSpPr/>
                  <p:nvPr/>
                </p:nvSpPr>
                <p:spPr>
                  <a:xfrm>
                    <a:off x="0" y="573310"/>
                    <a:ext cx="1632857" cy="1796143"/>
                  </a:xfrm>
                  <a:prstGeom prst="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endParaRPr lang="en-US" sz="831" kern="0">
                      <a:solidFill>
                        <a:prstClr val="white"/>
                      </a:solidFill>
                      <a:latin typeface="Century Gothic" pitchFamily="34" charset="0"/>
                    </a:endParaRPr>
                  </a:p>
                </p:txBody>
              </p:sp>
              <p:sp>
                <p:nvSpPr>
                  <p:cNvPr id="78" name="Rectangle 77"/>
                  <p:cNvSpPr/>
                  <p:nvPr/>
                </p:nvSpPr>
                <p:spPr>
                  <a:xfrm>
                    <a:off x="3810000" y="573310"/>
                    <a:ext cx="1632857" cy="1796143"/>
                  </a:xfrm>
                  <a:prstGeom prst="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endParaRPr lang="en-US" sz="831" kern="0">
                      <a:solidFill>
                        <a:prstClr val="white"/>
                      </a:solidFill>
                      <a:latin typeface="Century Gothic" pitchFamily="34" charset="0"/>
                    </a:endParaRPr>
                  </a:p>
                </p:txBody>
              </p:sp>
              <p:sp>
                <p:nvSpPr>
                  <p:cNvPr id="79" name="Rectangle 78"/>
                  <p:cNvSpPr/>
                  <p:nvPr/>
                </p:nvSpPr>
                <p:spPr>
                  <a:xfrm>
                    <a:off x="5660572" y="573310"/>
                    <a:ext cx="1632857" cy="1796143"/>
                  </a:xfrm>
                  <a:prstGeom prst="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endParaRPr lang="en-US" sz="831" kern="0">
                      <a:solidFill>
                        <a:prstClr val="white"/>
                      </a:solidFill>
                      <a:latin typeface="Century Gothic" pitchFamily="34" charset="0"/>
                    </a:endParaRPr>
                  </a:p>
                </p:txBody>
              </p:sp>
              <p:sp>
                <p:nvSpPr>
                  <p:cNvPr id="80" name="Rectangle 79"/>
                  <p:cNvSpPr/>
                  <p:nvPr/>
                </p:nvSpPr>
                <p:spPr>
                  <a:xfrm>
                    <a:off x="7513674" y="573310"/>
                    <a:ext cx="1632857" cy="1796143"/>
                  </a:xfrm>
                  <a:prstGeom prst="rect">
                    <a:avLst/>
                  </a:prstGeom>
                  <a:solidFill>
                    <a:sysClr val="window" lastClr="FFFFFF">
                      <a:lumMod val="95000"/>
                    </a:sysClr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endParaRPr lang="en-US" sz="831" kern="0">
                      <a:solidFill>
                        <a:prstClr val="white"/>
                      </a:solidFill>
                      <a:latin typeface="Century Gothic" pitchFamily="34" charset="0"/>
                    </a:endParaRPr>
                  </a:p>
                </p:txBody>
              </p:sp>
              <p:sp>
                <p:nvSpPr>
                  <p:cNvPr id="81" name="Rectangle 80"/>
                  <p:cNvSpPr/>
                  <p:nvPr/>
                </p:nvSpPr>
                <p:spPr>
                  <a:xfrm>
                    <a:off x="122464" y="709382"/>
                    <a:ext cx="1371600" cy="391886"/>
                  </a:xfrm>
                  <a:prstGeom prst="rect">
                    <a:avLst/>
                  </a:prstGeom>
                  <a:solidFill>
                    <a:srgbClr val="4F81B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Pour flush latrines</a:t>
                    </a:r>
                  </a:p>
                </p:txBody>
              </p:sp>
              <p:sp>
                <p:nvSpPr>
                  <p:cNvPr id="82" name="Rectangle 81"/>
                  <p:cNvSpPr/>
                  <p:nvPr/>
                </p:nvSpPr>
                <p:spPr>
                  <a:xfrm>
                    <a:off x="2005693" y="709382"/>
                    <a:ext cx="1436914" cy="391886"/>
                  </a:xfrm>
                  <a:prstGeom prst="rect">
                    <a:avLst/>
                  </a:prstGeom>
                  <a:solidFill>
                    <a:srgbClr val="4F81B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30141" tIns="30141" rIns="30141" bIns="30141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Existing Pit  and Septic tank with drain field</a:t>
                    </a:r>
                  </a:p>
                </p:txBody>
              </p:sp>
              <p:sp>
                <p:nvSpPr>
                  <p:cNvPr id="83" name="Rectangle 82"/>
                  <p:cNvSpPr/>
                  <p:nvPr/>
                </p:nvSpPr>
                <p:spPr>
                  <a:xfrm>
                    <a:off x="3935186" y="709382"/>
                    <a:ext cx="1371600" cy="391886"/>
                  </a:xfrm>
                  <a:prstGeom prst="rect">
                    <a:avLst/>
                  </a:prstGeom>
                  <a:solidFill>
                    <a:srgbClr val="4F81B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Open / covered drains</a:t>
                    </a:r>
                  </a:p>
                </p:txBody>
              </p:sp>
              <p:sp>
                <p:nvSpPr>
                  <p:cNvPr id="84" name="Rectangle 83"/>
                  <p:cNvSpPr/>
                  <p:nvPr/>
                </p:nvSpPr>
                <p:spPr>
                  <a:xfrm>
                    <a:off x="5812971" y="1523995"/>
                    <a:ext cx="1371600" cy="580571"/>
                  </a:xfrm>
                  <a:prstGeom prst="rect">
                    <a:avLst/>
                  </a:prstGeom>
                  <a:solidFill>
                    <a:srgbClr val="4F81B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srgbClr val="FF0000"/>
                        </a:solidFill>
                        <a:latin typeface="Century Gothic" pitchFamily="34" charset="0"/>
                      </a:rPr>
                      <a:t>x</a:t>
                    </a:r>
                  </a:p>
                </p:txBody>
              </p:sp>
              <p:cxnSp>
                <p:nvCxnSpPr>
                  <p:cNvPr id="85" name="Straight Arrow Connector 84"/>
                  <p:cNvCxnSpPr/>
                  <p:nvPr/>
                </p:nvCxnSpPr>
                <p:spPr>
                  <a:xfrm flipV="1">
                    <a:off x="3429632" y="899882"/>
                    <a:ext cx="457200" cy="0"/>
                  </a:xfrm>
                  <a:prstGeom prst="straightConnector1">
                    <a:avLst/>
                  </a:prstGeom>
                  <a:noFill/>
                  <a:ln w="28575" cap="flat" cmpd="thickThin" algn="ctr">
                    <a:solidFill>
                      <a:srgbClr val="FF0000"/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sp>
                <p:nvSpPr>
                  <p:cNvPr id="86" name="Rectangle 85"/>
                  <p:cNvSpPr/>
                  <p:nvPr/>
                </p:nvSpPr>
                <p:spPr>
                  <a:xfrm>
                    <a:off x="3933730" y="1172024"/>
                    <a:ext cx="1371600" cy="391886"/>
                  </a:xfrm>
                  <a:prstGeom prst="rect">
                    <a:avLst/>
                  </a:prstGeom>
                  <a:solidFill>
                    <a:srgbClr val="4F81B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No conveyance system in new developments</a:t>
                    </a:r>
                  </a:p>
                </p:txBody>
              </p:sp>
              <p:cxnSp>
                <p:nvCxnSpPr>
                  <p:cNvPr id="87" name="Shape 30"/>
                  <p:cNvCxnSpPr/>
                  <p:nvPr/>
                </p:nvCxnSpPr>
                <p:spPr>
                  <a:xfrm>
                    <a:off x="2939143" y="1117596"/>
                    <a:ext cx="921489" cy="261257"/>
                  </a:xfrm>
                  <a:prstGeom prst="bentConnector3">
                    <a:avLst>
                      <a:gd name="adj1" fmla="val -2520"/>
                    </a:avLst>
                  </a:prstGeom>
                  <a:noFill/>
                  <a:ln w="28575" cap="flat" cmpd="thickThin" algn="ctr">
                    <a:solidFill>
                      <a:srgbClr val="FF0000"/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cxnSp>
                <p:nvCxnSpPr>
                  <p:cNvPr id="88" name="Shape 108"/>
                  <p:cNvCxnSpPr>
                    <a:stCxn id="82" idx="2"/>
                    <a:endCxn id="84" idx="1"/>
                  </p:cNvCxnSpPr>
                  <p:nvPr/>
                </p:nvCxnSpPr>
                <p:spPr>
                  <a:xfrm rot="16200000" flipH="1">
                    <a:off x="3912054" y="-86637"/>
                    <a:ext cx="713013" cy="3088821"/>
                  </a:xfrm>
                  <a:prstGeom prst="bentConnector2">
                    <a:avLst/>
                  </a:prstGeom>
                  <a:noFill/>
                  <a:ln w="28575" cap="flat" cmpd="thickThin" algn="ctr">
                    <a:solidFill>
                      <a:srgbClr val="FF0000"/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sp>
                <p:nvSpPr>
                  <p:cNvPr id="89" name="Rectangle 88"/>
                  <p:cNvSpPr/>
                  <p:nvPr/>
                </p:nvSpPr>
                <p:spPr>
                  <a:xfrm>
                    <a:off x="7674428" y="1698167"/>
                    <a:ext cx="1306286" cy="435429"/>
                  </a:xfrm>
                  <a:prstGeom prst="rect">
                    <a:avLst/>
                  </a:prstGeom>
                  <a:solidFill>
                    <a:srgbClr val="4F81B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srgbClr val="FF0000"/>
                        </a:solidFill>
                        <a:latin typeface="Century Gothic" pitchFamily="34" charset="0"/>
                      </a:rPr>
                      <a:t>Dumping along  with solid waste</a:t>
                    </a:r>
                  </a:p>
                </p:txBody>
              </p:sp>
              <p:cxnSp>
                <p:nvCxnSpPr>
                  <p:cNvPr id="90" name="Straight Arrow Connector 89"/>
                  <p:cNvCxnSpPr/>
                  <p:nvPr/>
                </p:nvCxnSpPr>
                <p:spPr>
                  <a:xfrm>
                    <a:off x="7184572" y="1813411"/>
                    <a:ext cx="452314" cy="1741"/>
                  </a:xfrm>
                  <a:prstGeom prst="straightConnector1">
                    <a:avLst/>
                  </a:prstGeom>
                  <a:noFill/>
                  <a:ln w="28575" cap="flat" cmpd="thickThin" algn="ctr">
                    <a:solidFill>
                      <a:srgbClr val="FF0000"/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cxnSp>
                <p:nvCxnSpPr>
                  <p:cNvPr id="91" name="Straight Arrow Connector 90"/>
                  <p:cNvCxnSpPr/>
                  <p:nvPr/>
                </p:nvCxnSpPr>
                <p:spPr>
                  <a:xfrm flipV="1">
                    <a:off x="1502229" y="905325"/>
                    <a:ext cx="457200" cy="0"/>
                  </a:xfrm>
                  <a:prstGeom prst="straightConnector1">
                    <a:avLst/>
                  </a:prstGeom>
                  <a:noFill/>
                  <a:ln w="19050" cap="flat" cmpd="thickThin" algn="ctr">
                    <a:solidFill>
                      <a:srgbClr val="EEECE1">
                        <a:lumMod val="25000"/>
                      </a:srgbClr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sp>
                <p:nvSpPr>
                  <p:cNvPr id="92" name="Rectangle 91"/>
                  <p:cNvSpPr/>
                  <p:nvPr/>
                </p:nvSpPr>
                <p:spPr>
                  <a:xfrm>
                    <a:off x="7620000" y="709382"/>
                    <a:ext cx="1371600" cy="843643"/>
                  </a:xfrm>
                  <a:prstGeom prst="rect">
                    <a:avLst/>
                  </a:prstGeom>
                  <a:solidFill>
                    <a:srgbClr val="4F81BD">
                      <a:lumMod val="40000"/>
                      <a:lumOff val="60000"/>
                    </a:srgbClr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Into river or natural drain</a:t>
                    </a:r>
                  </a:p>
                </p:txBody>
              </p:sp>
              <p:cxnSp>
                <p:nvCxnSpPr>
                  <p:cNvPr id="93" name="Straight Arrow Connector 92"/>
                  <p:cNvCxnSpPr/>
                  <p:nvPr/>
                </p:nvCxnSpPr>
                <p:spPr>
                  <a:xfrm flipV="1">
                    <a:off x="5302102" y="899882"/>
                    <a:ext cx="2286000" cy="0"/>
                  </a:xfrm>
                  <a:prstGeom prst="straightConnector1">
                    <a:avLst/>
                  </a:prstGeom>
                  <a:noFill/>
                  <a:ln w="28575" cap="flat" cmpd="thickThin" algn="ctr">
                    <a:solidFill>
                      <a:srgbClr val="FF0000"/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cxnSp>
                <p:nvCxnSpPr>
                  <p:cNvPr id="94" name="Straight Arrow Connector 93"/>
                  <p:cNvCxnSpPr/>
                  <p:nvPr/>
                </p:nvCxnSpPr>
                <p:spPr>
                  <a:xfrm flipV="1">
                    <a:off x="5288471" y="1367967"/>
                    <a:ext cx="2286000" cy="0"/>
                  </a:xfrm>
                  <a:prstGeom prst="straightConnector1">
                    <a:avLst/>
                  </a:prstGeom>
                  <a:noFill/>
                  <a:ln w="28575" cap="flat" cmpd="thickThin" algn="ctr">
                    <a:solidFill>
                      <a:srgbClr val="FF0000"/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sp>
                <p:nvSpPr>
                  <p:cNvPr id="95" name="Rectangle 94"/>
                  <p:cNvSpPr/>
                  <p:nvPr/>
                </p:nvSpPr>
                <p:spPr>
                  <a:xfrm>
                    <a:off x="0" y="370785"/>
                    <a:ext cx="1632857" cy="217714"/>
                  </a:xfrm>
                  <a:prstGeom prst="rect">
                    <a:avLst/>
                  </a:prstGeom>
                  <a:solidFill>
                    <a:srgbClr val="1F497D"/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969" b="1" kern="0" dirty="0">
                        <a:solidFill>
                          <a:prstClr val="white"/>
                        </a:solidFill>
                        <a:latin typeface="Century Gothic" pitchFamily="34" charset="0"/>
                      </a:rPr>
                      <a:t>User interface</a:t>
                    </a:r>
                  </a:p>
                </p:txBody>
              </p:sp>
              <p:sp>
                <p:nvSpPr>
                  <p:cNvPr id="96" name="Rectangle 95"/>
                  <p:cNvSpPr/>
                  <p:nvPr/>
                </p:nvSpPr>
                <p:spPr>
                  <a:xfrm>
                    <a:off x="1905000" y="370785"/>
                    <a:ext cx="1632857" cy="217714"/>
                  </a:xfrm>
                  <a:prstGeom prst="rect">
                    <a:avLst/>
                  </a:prstGeom>
                  <a:solidFill>
                    <a:srgbClr val="1F497D"/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969" b="1" kern="0" dirty="0">
                        <a:solidFill>
                          <a:prstClr val="white"/>
                        </a:solidFill>
                        <a:latin typeface="Century Gothic" pitchFamily="34" charset="0"/>
                      </a:rPr>
                      <a:t>Collection</a:t>
                    </a:r>
                  </a:p>
                </p:txBody>
              </p:sp>
              <p:sp>
                <p:nvSpPr>
                  <p:cNvPr id="97" name="Rectangle 96"/>
                  <p:cNvSpPr/>
                  <p:nvPr/>
                </p:nvSpPr>
                <p:spPr>
                  <a:xfrm>
                    <a:off x="3810000" y="370785"/>
                    <a:ext cx="1632857" cy="217714"/>
                  </a:xfrm>
                  <a:prstGeom prst="rect">
                    <a:avLst/>
                  </a:prstGeom>
                  <a:solidFill>
                    <a:srgbClr val="1F497D"/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969" b="1" kern="0" dirty="0">
                        <a:solidFill>
                          <a:prstClr val="white"/>
                        </a:solidFill>
                        <a:latin typeface="Century Gothic" pitchFamily="34" charset="0"/>
                      </a:rPr>
                      <a:t>Conveyance</a:t>
                    </a:r>
                  </a:p>
                </p:txBody>
              </p:sp>
              <p:sp>
                <p:nvSpPr>
                  <p:cNvPr id="98" name="Rectangle 97"/>
                  <p:cNvSpPr/>
                  <p:nvPr/>
                </p:nvSpPr>
                <p:spPr>
                  <a:xfrm>
                    <a:off x="5660572" y="370785"/>
                    <a:ext cx="1632857" cy="217714"/>
                  </a:xfrm>
                  <a:prstGeom prst="rect">
                    <a:avLst/>
                  </a:prstGeom>
                  <a:solidFill>
                    <a:srgbClr val="1F497D"/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969" b="1" kern="0" dirty="0">
                        <a:solidFill>
                          <a:prstClr val="white"/>
                        </a:solidFill>
                        <a:latin typeface="Century Gothic" pitchFamily="34" charset="0"/>
                      </a:rPr>
                      <a:t>Treatment</a:t>
                    </a:r>
                  </a:p>
                </p:txBody>
              </p:sp>
              <p:sp>
                <p:nvSpPr>
                  <p:cNvPr id="99" name="Rectangle 98"/>
                  <p:cNvSpPr/>
                  <p:nvPr/>
                </p:nvSpPr>
                <p:spPr>
                  <a:xfrm>
                    <a:off x="7513674" y="370785"/>
                    <a:ext cx="1632857" cy="217714"/>
                  </a:xfrm>
                  <a:prstGeom prst="rect">
                    <a:avLst/>
                  </a:prstGeom>
                  <a:solidFill>
                    <a:srgbClr val="1F497D"/>
                  </a:solidFill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algn="ctr" defTabSz="843737">
                      <a:defRPr/>
                    </a:pPr>
                    <a:r>
                      <a:rPr lang="en-US" sz="969" b="1" kern="0" dirty="0">
                        <a:solidFill>
                          <a:prstClr val="white"/>
                        </a:solidFill>
                        <a:latin typeface="Century Gothic" pitchFamily="34" charset="0"/>
                      </a:rPr>
                      <a:t>Reuse /Disposal</a:t>
                    </a:r>
                  </a:p>
                </p:txBody>
              </p:sp>
              <p:sp>
                <p:nvSpPr>
                  <p:cNvPr id="100" name="Rectangle 99"/>
                  <p:cNvSpPr/>
                  <p:nvPr/>
                </p:nvSpPr>
                <p:spPr>
                  <a:xfrm>
                    <a:off x="3810000" y="2202538"/>
                    <a:ext cx="1632857" cy="816429"/>
                  </a:xfrm>
                  <a:prstGeom prst="rect">
                    <a:avLst/>
                  </a:prstGeom>
                  <a:solidFill>
                    <a:srgbClr val="EEECE1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rtlCol="0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Lack of 100% coverage of  conveyance system</a:t>
                    </a:r>
                  </a:p>
                </p:txBody>
              </p:sp>
              <p:sp>
                <p:nvSpPr>
                  <p:cNvPr id="101" name="Rectangle 100"/>
                  <p:cNvSpPr/>
                  <p:nvPr/>
                </p:nvSpPr>
                <p:spPr>
                  <a:xfrm>
                    <a:off x="5660572" y="2202538"/>
                    <a:ext cx="1632857" cy="816429"/>
                  </a:xfrm>
                  <a:prstGeom prst="rect">
                    <a:avLst/>
                  </a:prstGeom>
                  <a:solidFill>
                    <a:srgbClr val="EEECE1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rtlCol="0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Lack of treatment facility</a:t>
                    </a:r>
                  </a:p>
                </p:txBody>
              </p:sp>
              <p:sp>
                <p:nvSpPr>
                  <p:cNvPr id="102" name="Rectangle 101"/>
                  <p:cNvSpPr/>
                  <p:nvPr/>
                </p:nvSpPr>
                <p:spPr>
                  <a:xfrm>
                    <a:off x="7513674" y="2202538"/>
                    <a:ext cx="1632857" cy="816429"/>
                  </a:xfrm>
                  <a:prstGeom prst="rect">
                    <a:avLst/>
                  </a:prstGeom>
                  <a:solidFill>
                    <a:srgbClr val="EEECE1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rtlCol="0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Lack of scientific disposal of septage </a:t>
                    </a:r>
                  </a:p>
                </p:txBody>
              </p:sp>
              <p:sp>
                <p:nvSpPr>
                  <p:cNvPr id="103" name="Rectangle 102"/>
                  <p:cNvSpPr/>
                  <p:nvPr/>
                </p:nvSpPr>
                <p:spPr>
                  <a:xfrm>
                    <a:off x="0" y="2202538"/>
                    <a:ext cx="3526971" cy="391886"/>
                  </a:xfrm>
                  <a:prstGeom prst="rect">
                    <a:avLst/>
                  </a:prstGeom>
                  <a:solidFill>
                    <a:srgbClr val="EEECE1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rtlCol="0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Old city area - Inadequate primary treatment but good conveyance through open drains</a:t>
                    </a:r>
                  </a:p>
                </p:txBody>
              </p:sp>
              <p:sp>
                <p:nvSpPr>
                  <p:cNvPr id="104" name="Rectangle 103"/>
                  <p:cNvSpPr/>
                  <p:nvPr/>
                </p:nvSpPr>
                <p:spPr>
                  <a:xfrm>
                    <a:off x="0" y="2637966"/>
                    <a:ext cx="3526971" cy="391886"/>
                  </a:xfrm>
                  <a:prstGeom prst="rect">
                    <a:avLst/>
                  </a:prstGeom>
                  <a:solidFill>
                    <a:srgbClr val="EEECE1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lIns="60282" tIns="30141" rIns="60282" bIns="30141" rtlCol="0" anchor="ctr"/>
                  <a:lstStyle/>
                  <a:p>
                    <a:pPr algn="ctr" defTabSz="843737">
                      <a:defRPr/>
                    </a:pPr>
                    <a:r>
                      <a:rPr lang="en-US" sz="831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New developments - Improved primary treatment through septic tanks but no drains</a:t>
                    </a:r>
                  </a:p>
                </p:txBody>
              </p:sp>
              <p:cxnSp>
                <p:nvCxnSpPr>
                  <p:cNvPr id="105" name="Shape 30"/>
                  <p:cNvCxnSpPr/>
                  <p:nvPr/>
                </p:nvCxnSpPr>
                <p:spPr>
                  <a:xfrm>
                    <a:off x="158041" y="3283843"/>
                    <a:ext cx="919877" cy="7252"/>
                  </a:xfrm>
                  <a:prstGeom prst="bentConnector3">
                    <a:avLst>
                      <a:gd name="adj1" fmla="val 50000"/>
                    </a:avLst>
                  </a:prstGeom>
                  <a:noFill/>
                  <a:ln w="28575" cap="flat" cmpd="thickThin" algn="ctr">
                    <a:solidFill>
                      <a:srgbClr val="FF0000"/>
                    </a:solidFill>
                    <a:prstDash val="sysDash"/>
                    <a:headEnd type="none" w="lg" len="lg"/>
                    <a:tailEnd type="triangle" w="lg" len="lg"/>
                  </a:ln>
                  <a:effectLst/>
                </p:spPr>
              </p:cxnSp>
              <p:sp>
                <p:nvSpPr>
                  <p:cNvPr id="106" name="Rectangle 105"/>
                  <p:cNvSpPr/>
                  <p:nvPr/>
                </p:nvSpPr>
                <p:spPr>
                  <a:xfrm>
                    <a:off x="1278467" y="3186138"/>
                    <a:ext cx="3124200" cy="221883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</a:ln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p:spPr>
                <p:txBody>
                  <a:bodyPr lIns="60282" tIns="30141" rIns="60282" bIns="30141" anchor="ctr"/>
                  <a:lstStyle/>
                  <a:p>
                    <a:pPr defTabSz="843737">
                      <a:defRPr/>
                    </a:pPr>
                    <a:r>
                      <a:rPr lang="en-US" sz="969" b="1" kern="0" dirty="0">
                        <a:solidFill>
                          <a:prstClr val="black"/>
                        </a:solidFill>
                        <a:latin typeface="Century Gothic" pitchFamily="34" charset="0"/>
                      </a:rPr>
                      <a:t>Missing links in Sanitation value chain in a city</a:t>
                    </a:r>
                  </a:p>
                </p:txBody>
              </p:sp>
            </p:grpSp>
            <p:pic>
              <p:nvPicPr>
                <p:cNvPr id="75" name="Picture 1"/>
                <p:cNvPicPr>
                  <a:picLocks noChangeAspect="1" noChangeArrowheads="1"/>
                </p:cNvPicPr>
                <p:nvPr/>
              </p:nvPicPr>
              <p:blipFill>
                <a:blip r:embed="rId2"/>
                <a:srcRect l="8333" t="15111" r="8889" b="60000"/>
                <a:stretch>
                  <a:fillRect/>
                </a:stretch>
              </p:blipFill>
              <p:spPr bwMode="auto">
                <a:xfrm>
                  <a:off x="0" y="3527332"/>
                  <a:ext cx="9144000" cy="171833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effectLst/>
              </p:spPr>
            </p:pic>
          </p:grpSp>
          <p:pic>
            <p:nvPicPr>
              <p:cNvPr id="37" name="Picture 1"/>
              <p:cNvPicPr>
                <a:picLocks noChangeAspect="1" noChangeArrowheads="1"/>
              </p:cNvPicPr>
              <p:nvPr/>
            </p:nvPicPr>
            <p:blipFill rotWithShape="1">
              <a:blip r:embed="rId2"/>
              <a:srcRect l="63176" t="20098" r="34718" b="77350"/>
              <a:stretch/>
            </p:blipFill>
            <p:spPr bwMode="auto">
              <a:xfrm>
                <a:off x="8579004" y="4862718"/>
                <a:ext cx="1322919" cy="1870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  <p:sp>
          <p:nvSpPr>
            <p:cNvPr id="4" name="TextBox 3"/>
            <p:cNvSpPr txBox="1"/>
            <p:nvPr/>
          </p:nvSpPr>
          <p:spPr>
            <a:xfrm>
              <a:off x="8762999" y="4840416"/>
              <a:ext cx="965872" cy="269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15" b="1" dirty="0">
                  <a:solidFill>
                    <a:srgbClr val="000000"/>
                  </a:solidFill>
                </a:rPr>
                <a:t>Water bod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3366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3601" y="131622"/>
            <a:ext cx="8502732" cy="484864"/>
          </a:xfrm>
        </p:spPr>
        <p:txBody>
          <a:bodyPr>
            <a:noAutofit/>
          </a:bodyPr>
          <a:lstStyle/>
          <a:p>
            <a:r>
              <a:rPr lang="en-US" sz="2800" dirty="0"/>
              <a:t>End-to-end IFSM solution – From </a:t>
            </a:r>
            <a:r>
              <a:rPr lang="en-US" sz="2800" dirty="0">
                <a:solidFill>
                  <a:srgbClr val="C00000"/>
                </a:solidFill>
              </a:rPr>
              <a:t>red </a:t>
            </a:r>
            <a:r>
              <a:rPr lang="en-US" sz="2800" dirty="0"/>
              <a:t>to </a:t>
            </a:r>
            <a:r>
              <a:rPr lang="en-US" sz="2800" dirty="0">
                <a:solidFill>
                  <a:schemeClr val="accent3"/>
                </a:solidFill>
              </a:rPr>
              <a:t>gre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0"/>
          </p:nvPr>
        </p:nvSpPr>
        <p:spPr>
          <a:xfrm>
            <a:off x="1114128" y="933051"/>
            <a:ext cx="1511388" cy="533392"/>
          </a:xfrm>
        </p:spPr>
        <p:txBody>
          <a:bodyPr/>
          <a:lstStyle/>
          <a:p>
            <a:r>
              <a:rPr lang="en-US" sz="1292" dirty="0">
                <a:solidFill>
                  <a:schemeClr val="bg1"/>
                </a:solidFill>
              </a:rPr>
              <a:t>Acces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1"/>
          </p:nvPr>
        </p:nvSpPr>
        <p:spPr>
          <a:xfrm>
            <a:off x="2645067" y="933051"/>
            <a:ext cx="1511430" cy="533392"/>
          </a:xfrm>
        </p:spPr>
        <p:txBody>
          <a:bodyPr/>
          <a:lstStyle/>
          <a:p>
            <a:r>
              <a:rPr lang="en-US" sz="1292" dirty="0">
                <a:solidFill>
                  <a:schemeClr val="bg1"/>
                </a:solidFill>
              </a:rPr>
              <a:t>Collec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6"/>
          </p:nvPr>
        </p:nvSpPr>
        <p:spPr>
          <a:xfrm>
            <a:off x="4176051" y="933051"/>
            <a:ext cx="1511430" cy="533392"/>
          </a:xfrm>
        </p:spPr>
        <p:txBody>
          <a:bodyPr/>
          <a:lstStyle/>
          <a:p>
            <a:r>
              <a:rPr lang="en-US" sz="1292" dirty="0">
                <a:solidFill>
                  <a:schemeClr val="bg1"/>
                </a:solidFill>
              </a:rPr>
              <a:t>Conveyanc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63"/>
          </p:nvPr>
        </p:nvSpPr>
        <p:spPr>
          <a:xfrm>
            <a:off x="5707035" y="933026"/>
            <a:ext cx="1511430" cy="533392"/>
          </a:xfrm>
        </p:spPr>
        <p:txBody>
          <a:bodyPr/>
          <a:lstStyle/>
          <a:p>
            <a:r>
              <a:rPr lang="en-US" sz="1292" dirty="0">
                <a:solidFill>
                  <a:schemeClr val="bg1"/>
                </a:solidFill>
              </a:rPr>
              <a:t>Treat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64"/>
          </p:nvPr>
        </p:nvSpPr>
        <p:spPr>
          <a:xfrm>
            <a:off x="7238012" y="933026"/>
            <a:ext cx="1511430" cy="533392"/>
          </a:xfrm>
        </p:spPr>
        <p:txBody>
          <a:bodyPr>
            <a:normAutofit/>
          </a:bodyPr>
          <a:lstStyle/>
          <a:p>
            <a:r>
              <a:rPr lang="en-US" sz="1292" dirty="0">
                <a:solidFill>
                  <a:schemeClr val="bg1"/>
                </a:solidFill>
              </a:rPr>
              <a:t>Disposal / Reuse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1334050" y="1571367"/>
            <a:ext cx="1071544" cy="395742"/>
          </a:xfrm>
          <a:prstGeom prst="roundRect">
            <a:avLst/>
          </a:prstGeom>
          <a:solidFill>
            <a:schemeClr val="accent3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Pour flush toilets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2865024" y="1569934"/>
            <a:ext cx="1071544" cy="39574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eptic tanks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279626" y="1571367"/>
            <a:ext cx="1304304" cy="39574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ction emptier truck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5783557" y="1571367"/>
            <a:ext cx="1358388" cy="39574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No treatment facility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7457955" y="1571367"/>
            <a:ext cx="1242726" cy="395742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Disposed off on dumping site</a:t>
            </a:r>
          </a:p>
        </p:txBody>
      </p:sp>
      <p:cxnSp>
        <p:nvCxnSpPr>
          <p:cNvPr id="20" name="Straight Arrow Connector 19"/>
          <p:cNvCxnSpPr>
            <a:stCxn id="14" idx="3"/>
            <a:endCxn id="15" idx="1"/>
          </p:cNvCxnSpPr>
          <p:nvPr/>
        </p:nvCxnSpPr>
        <p:spPr>
          <a:xfrm flipV="1">
            <a:off x="2405594" y="1767805"/>
            <a:ext cx="459430" cy="1433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15" idx="3"/>
            <a:endCxn id="16" idx="1"/>
          </p:cNvCxnSpPr>
          <p:nvPr/>
        </p:nvCxnSpPr>
        <p:spPr>
          <a:xfrm>
            <a:off x="3936568" y="1767805"/>
            <a:ext cx="343058" cy="1433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16" idx="3"/>
            <a:endCxn id="17" idx="1"/>
          </p:cNvCxnSpPr>
          <p:nvPr/>
        </p:nvCxnSpPr>
        <p:spPr>
          <a:xfrm>
            <a:off x="5583930" y="1769238"/>
            <a:ext cx="199627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7" idx="3"/>
            <a:endCxn id="18" idx="1"/>
          </p:cNvCxnSpPr>
          <p:nvPr/>
        </p:nvCxnSpPr>
        <p:spPr>
          <a:xfrm>
            <a:off x="7141945" y="1769238"/>
            <a:ext cx="316010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6"/>
          <p:cNvSpPr/>
          <p:nvPr/>
        </p:nvSpPr>
        <p:spPr>
          <a:xfrm>
            <a:off x="1334050" y="3612010"/>
            <a:ext cx="1071544" cy="39574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Pour flush toilets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865024" y="3612010"/>
            <a:ext cx="1071544" cy="39574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eptic tanks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252583" y="3612010"/>
            <a:ext cx="1358390" cy="39574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Suction emptier truck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5926979" y="3612010"/>
            <a:ext cx="1071544" cy="39574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Treatment facility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7346897" y="3612010"/>
            <a:ext cx="1293660" cy="395742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Revenue from compost</a:t>
            </a:r>
          </a:p>
        </p:txBody>
      </p:sp>
      <p:cxnSp>
        <p:nvCxnSpPr>
          <p:cNvPr id="32" name="Straight Arrow Connector 31"/>
          <p:cNvCxnSpPr>
            <a:stCxn id="27" idx="3"/>
            <a:endCxn id="28" idx="1"/>
          </p:cNvCxnSpPr>
          <p:nvPr/>
        </p:nvCxnSpPr>
        <p:spPr>
          <a:xfrm>
            <a:off x="2405590" y="3809881"/>
            <a:ext cx="459434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>
            <a:stCxn id="28" idx="3"/>
            <a:endCxn id="29" idx="1"/>
          </p:cNvCxnSpPr>
          <p:nvPr/>
        </p:nvCxnSpPr>
        <p:spPr>
          <a:xfrm>
            <a:off x="3936568" y="3809881"/>
            <a:ext cx="316015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29" idx="3"/>
            <a:endCxn id="30" idx="1"/>
          </p:cNvCxnSpPr>
          <p:nvPr/>
        </p:nvCxnSpPr>
        <p:spPr>
          <a:xfrm>
            <a:off x="5610973" y="3809881"/>
            <a:ext cx="316006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30" idx="3"/>
            <a:endCxn id="31" idx="1"/>
          </p:cNvCxnSpPr>
          <p:nvPr/>
        </p:nvCxnSpPr>
        <p:spPr>
          <a:xfrm>
            <a:off x="6998523" y="3809881"/>
            <a:ext cx="348374" cy="0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415637" y="1564535"/>
            <a:ext cx="802025" cy="16162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62" i="1" dirty="0">
                <a:solidFill>
                  <a:schemeClr val="tx1"/>
                </a:solidFill>
              </a:rPr>
              <a:t>Current Situation </a:t>
            </a:r>
          </a:p>
        </p:txBody>
      </p:sp>
      <p:sp>
        <p:nvSpPr>
          <p:cNvPr id="54" name="Rectangle 53"/>
          <p:cNvSpPr/>
          <p:nvPr/>
        </p:nvSpPr>
        <p:spPr>
          <a:xfrm>
            <a:off x="415637" y="3616907"/>
            <a:ext cx="802025" cy="29185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662" i="1" dirty="0">
                <a:solidFill>
                  <a:schemeClr val="tx1"/>
                </a:solidFill>
              </a:rPr>
              <a:t>Proposed Approach</a:t>
            </a:r>
          </a:p>
        </p:txBody>
      </p:sp>
      <p:cxnSp>
        <p:nvCxnSpPr>
          <p:cNvPr id="56" name="Straight Connector 55"/>
          <p:cNvCxnSpPr/>
          <p:nvPr/>
        </p:nvCxnSpPr>
        <p:spPr>
          <a:xfrm>
            <a:off x="373601" y="3517957"/>
            <a:ext cx="8266956" cy="0"/>
          </a:xfrm>
          <a:prstGeom prst="line">
            <a:avLst/>
          </a:prstGeom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7265776" y="2070164"/>
            <a:ext cx="1434905" cy="10520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52404" indent="-152404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Septage </a:t>
            </a:r>
            <a:r>
              <a:rPr lang="en-US" sz="1200" b="1" dirty="0">
                <a:solidFill>
                  <a:srgbClr val="C00000"/>
                </a:solidFill>
              </a:rPr>
              <a:t>disposed</a:t>
            </a:r>
            <a:r>
              <a:rPr lang="en-US" sz="1200" dirty="0"/>
              <a:t> off on dumping site </a:t>
            </a:r>
            <a:r>
              <a:rPr lang="en-US" sz="1200" b="1" dirty="0">
                <a:solidFill>
                  <a:srgbClr val="C00000"/>
                </a:solidFill>
              </a:rPr>
              <a:t>without treatment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672861" y="2046718"/>
            <a:ext cx="1434905" cy="10520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Septic tanks </a:t>
            </a:r>
            <a:r>
              <a:rPr lang="en-US" sz="1200" b="1" dirty="0">
                <a:solidFill>
                  <a:srgbClr val="C00000"/>
                </a:solidFill>
              </a:rPr>
              <a:t>lack manhole covers 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Septic tanks are </a:t>
            </a:r>
            <a:r>
              <a:rPr lang="en-US" sz="1200" b="1" dirty="0">
                <a:solidFill>
                  <a:srgbClr val="C00000"/>
                </a:solidFill>
              </a:rPr>
              <a:t>not of standard size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C00000"/>
                </a:solidFill>
              </a:rPr>
              <a:t>No database </a:t>
            </a:r>
            <a:r>
              <a:rPr lang="en-US" sz="1200" b="1" dirty="0"/>
              <a:t>on </a:t>
            </a:r>
            <a:r>
              <a:rPr lang="en-US" sz="1200" dirty="0"/>
              <a:t>septic tanks for properties</a:t>
            </a:r>
          </a:p>
          <a:p>
            <a:pPr>
              <a:spcBef>
                <a:spcPts val="277"/>
              </a:spcBef>
              <a:spcAft>
                <a:spcPts val="277"/>
              </a:spcAft>
            </a:pPr>
            <a:endParaRPr lang="en-US" sz="1200" dirty="0"/>
          </a:p>
        </p:txBody>
      </p:sp>
      <p:sp>
        <p:nvSpPr>
          <p:cNvPr id="65" name="TextBox 64"/>
          <p:cNvSpPr txBox="1"/>
          <p:nvPr/>
        </p:nvSpPr>
        <p:spPr>
          <a:xfrm>
            <a:off x="4203833" y="2070164"/>
            <a:ext cx="1434905" cy="10520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Only </a:t>
            </a:r>
            <a:r>
              <a:rPr lang="en-US" sz="1200" b="1" dirty="0">
                <a:solidFill>
                  <a:srgbClr val="C00000"/>
                </a:solidFill>
              </a:rPr>
              <a:t>2-4 % of septic tanks cleaned</a:t>
            </a:r>
            <a:r>
              <a:rPr lang="en-US" sz="1200" dirty="0">
                <a:solidFill>
                  <a:srgbClr val="C00000"/>
                </a:solidFill>
              </a:rPr>
              <a:t> </a:t>
            </a:r>
            <a:r>
              <a:rPr lang="en-US" sz="1200" dirty="0"/>
              <a:t>annually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5734805" y="2070164"/>
            <a:ext cx="1434905" cy="10520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52129" indent="-152129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C00000"/>
                </a:solidFill>
              </a:rPr>
              <a:t>No facility </a:t>
            </a:r>
            <a:r>
              <a:rPr lang="en-US" sz="1200" dirty="0"/>
              <a:t>for fecal sludge treatment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238011" y="4113945"/>
            <a:ext cx="1434905" cy="106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52404" indent="-152404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B050"/>
                </a:solidFill>
              </a:rPr>
              <a:t>Safe dumping</a:t>
            </a:r>
            <a:r>
              <a:rPr lang="en-US" sz="1200" dirty="0">
                <a:solidFill>
                  <a:srgbClr val="00B050"/>
                </a:solidFill>
              </a:rPr>
              <a:t> </a:t>
            </a:r>
            <a:r>
              <a:rPr lang="en-US" sz="1200" dirty="0"/>
              <a:t>of treated fecal matter and/or the </a:t>
            </a:r>
            <a:r>
              <a:rPr lang="en-US" sz="1200" b="1" dirty="0">
                <a:solidFill>
                  <a:srgbClr val="00B050"/>
                </a:solidFill>
              </a:rPr>
              <a:t>sale of septage</a:t>
            </a:r>
            <a:r>
              <a:rPr lang="en-US" sz="1200" dirty="0"/>
              <a:t> at a fixed rate to nearby farms or agro-businesses</a:t>
            </a:r>
            <a:endParaRPr lang="en-US" sz="1200" b="1" dirty="0"/>
          </a:p>
        </p:txBody>
      </p:sp>
      <p:sp>
        <p:nvSpPr>
          <p:cNvPr id="73" name="TextBox 72"/>
          <p:cNvSpPr txBox="1"/>
          <p:nvPr/>
        </p:nvSpPr>
        <p:spPr>
          <a:xfrm>
            <a:off x="2645096" y="4113945"/>
            <a:ext cx="1434905" cy="106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Providing </a:t>
            </a:r>
            <a:r>
              <a:rPr lang="en-US" sz="1200" b="1" dirty="0">
                <a:solidFill>
                  <a:srgbClr val="00B050"/>
                </a:solidFill>
              </a:rPr>
              <a:t>access manhole covers</a:t>
            </a:r>
            <a:r>
              <a:rPr lang="en-US" sz="1200" dirty="0">
                <a:solidFill>
                  <a:srgbClr val="00B050"/>
                </a:solidFill>
              </a:rPr>
              <a:t> </a:t>
            </a:r>
            <a:r>
              <a:rPr lang="en-US" sz="1200" dirty="0"/>
              <a:t>to allow regular cleaning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B050"/>
                </a:solidFill>
              </a:rPr>
              <a:t>Enforcing regulations </a:t>
            </a:r>
            <a:r>
              <a:rPr lang="en-US" sz="1200" dirty="0"/>
              <a:t>on septic tanks design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B050"/>
                </a:solidFill>
              </a:rPr>
              <a:t>Data base  </a:t>
            </a:r>
            <a:r>
              <a:rPr lang="en-US" sz="1200" b="1" dirty="0"/>
              <a:t>of </a:t>
            </a:r>
            <a:r>
              <a:rPr lang="en-US" sz="1200" dirty="0"/>
              <a:t>properties with septic tanks </a:t>
            </a:r>
          </a:p>
          <a:p>
            <a:pPr>
              <a:spcBef>
                <a:spcPts val="277"/>
              </a:spcBef>
              <a:spcAft>
                <a:spcPts val="277"/>
              </a:spcAft>
            </a:pPr>
            <a:endParaRPr lang="en-US" sz="1200" dirty="0"/>
          </a:p>
        </p:txBody>
      </p:sp>
      <p:sp>
        <p:nvSpPr>
          <p:cNvPr id="74" name="TextBox 73"/>
          <p:cNvSpPr txBox="1"/>
          <p:nvPr/>
        </p:nvSpPr>
        <p:spPr>
          <a:xfrm>
            <a:off x="4176068" y="4113945"/>
            <a:ext cx="1750911" cy="106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Preparing </a:t>
            </a:r>
            <a:r>
              <a:rPr lang="en-US" sz="1200" dirty="0">
                <a:solidFill>
                  <a:srgbClr val="00B050"/>
                </a:solidFill>
              </a:rPr>
              <a:t>a </a:t>
            </a:r>
            <a:r>
              <a:rPr lang="en-US" sz="1200" b="1" dirty="0">
                <a:solidFill>
                  <a:srgbClr val="00B050"/>
                </a:solidFill>
              </a:rPr>
              <a:t>schedule for period cleaning of septic tanks</a:t>
            </a:r>
            <a:r>
              <a:rPr lang="en-US" sz="1200" dirty="0"/>
              <a:t>, to ensure that all septic tank are cleaned at least </a:t>
            </a:r>
            <a:r>
              <a:rPr lang="en-US" sz="1200" b="1" dirty="0"/>
              <a:t>once in 3 years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B050"/>
                </a:solidFill>
              </a:rPr>
              <a:t>Enforcing regulations and penalties </a:t>
            </a:r>
            <a:r>
              <a:rPr lang="en-US" sz="1200" b="1" dirty="0"/>
              <a:t>for </a:t>
            </a:r>
            <a:r>
              <a:rPr lang="en-US" sz="1200" dirty="0"/>
              <a:t>periodicity of septic tank cleaning and safe handling of sludge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B050"/>
                </a:solidFill>
              </a:rPr>
              <a:t>Payment using local taxes </a:t>
            </a:r>
            <a:r>
              <a:rPr lang="en-US" sz="1200" dirty="0"/>
              <a:t> using escrow mechanisms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5913788" y="4113945"/>
            <a:ext cx="1386162" cy="106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52129" indent="-152129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>
                <a:solidFill>
                  <a:srgbClr val="00B050"/>
                </a:solidFill>
              </a:rPr>
              <a:t>Installing treatment facility </a:t>
            </a:r>
            <a:r>
              <a:rPr lang="en-US" sz="1200" dirty="0"/>
              <a:t>for the treatment of septag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7961915" y="6296327"/>
            <a:ext cx="590843" cy="168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 dirty="0">
              <a:solidFill>
                <a:schemeClr val="tx1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336872" y="4155968"/>
            <a:ext cx="1298436" cy="18139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Converting unimproved toilets to </a:t>
            </a:r>
            <a:r>
              <a:rPr lang="en-US" sz="1200" b="1" dirty="0"/>
              <a:t>improved toilets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Ensuring</a:t>
            </a:r>
            <a:r>
              <a:rPr lang="en-US" sz="1200" b="1" dirty="0"/>
              <a:t> 100% access to improved toilets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b="1" dirty="0"/>
              <a:t>Data base on toilets </a:t>
            </a:r>
            <a:r>
              <a:rPr lang="en-US" sz="1200" dirty="0"/>
              <a:t>for all properties</a:t>
            </a:r>
          </a:p>
          <a:p>
            <a:pPr>
              <a:spcBef>
                <a:spcPts val="277"/>
              </a:spcBef>
              <a:spcAft>
                <a:spcPts val="277"/>
              </a:spcAft>
            </a:pPr>
            <a:endParaRPr lang="en-US" sz="1200" dirty="0"/>
          </a:p>
        </p:txBody>
      </p:sp>
      <p:sp>
        <p:nvSpPr>
          <p:cNvPr id="42" name="TextBox 41"/>
          <p:cNvSpPr txBox="1"/>
          <p:nvPr/>
        </p:nvSpPr>
        <p:spPr>
          <a:xfrm>
            <a:off x="1265012" y="2005752"/>
            <a:ext cx="1311782" cy="10633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Lack of universal access to improved toilets</a:t>
            </a:r>
          </a:p>
          <a:p>
            <a:pPr marL="111372" indent="-111372">
              <a:spcBef>
                <a:spcPts val="277"/>
              </a:spcBef>
              <a:spcAft>
                <a:spcPts val="277"/>
              </a:spcAft>
              <a:buFont typeface="Arial" pitchFamily="34" charset="0"/>
              <a:buChar char="•"/>
            </a:pPr>
            <a:r>
              <a:rPr lang="en-US" sz="1200" dirty="0"/>
              <a:t>Lack of adequate </a:t>
            </a:r>
            <a:r>
              <a:rPr lang="en-US" sz="1200" b="1" dirty="0"/>
              <a:t>data base  on </a:t>
            </a:r>
            <a:r>
              <a:rPr lang="en-US" sz="1200" dirty="0"/>
              <a:t>toilets for properties</a:t>
            </a:r>
          </a:p>
          <a:p>
            <a:pPr>
              <a:spcBef>
                <a:spcPts val="277"/>
              </a:spcBef>
              <a:spcAft>
                <a:spcPts val="277"/>
              </a:spcAft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162136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6200"/>
            <a:ext cx="9144000" cy="562708"/>
          </a:xfrm>
        </p:spPr>
        <p:txBody>
          <a:bodyPr anchor="ctr">
            <a:noAutofit/>
          </a:bodyPr>
          <a:lstStyle/>
          <a:p>
            <a:r>
              <a:rPr lang="en-US" sz="2000" dirty="0"/>
              <a:t>   Need to move from </a:t>
            </a:r>
            <a:r>
              <a:rPr lang="en-US" sz="2000" dirty="0">
                <a:solidFill>
                  <a:srgbClr val="C00000"/>
                </a:solidFill>
              </a:rPr>
              <a:t>complaint </a:t>
            </a:r>
            <a:r>
              <a:rPr lang="en-US" sz="2000" dirty="0" err="1">
                <a:solidFill>
                  <a:srgbClr val="C00000"/>
                </a:solidFill>
              </a:rPr>
              <a:t>Redressal</a:t>
            </a:r>
            <a:r>
              <a:rPr lang="en-US" sz="2000" dirty="0">
                <a:solidFill>
                  <a:srgbClr val="C00000"/>
                </a:solidFill>
              </a:rPr>
              <a:t>                           </a:t>
            </a:r>
            <a:r>
              <a:rPr lang="en-US" sz="2000" dirty="0" smtClean="0">
                <a:solidFill>
                  <a:srgbClr val="C00000"/>
                </a:solidFill>
              </a:rPr>
              <a:t>  </a:t>
            </a:r>
            <a:r>
              <a:rPr lang="en-US" sz="2000" dirty="0"/>
              <a:t>To </a:t>
            </a:r>
            <a:r>
              <a:rPr lang="en-US" sz="2000" dirty="0">
                <a:solidFill>
                  <a:srgbClr val="C00000"/>
                </a:solidFill>
              </a:rPr>
              <a:t>regular servic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15926" y="6214386"/>
            <a:ext cx="8575674" cy="356934"/>
          </a:xfrm>
        </p:spPr>
        <p:txBody>
          <a:bodyPr>
            <a:normAutofit/>
          </a:bodyPr>
          <a:lstStyle/>
          <a:p>
            <a:r>
              <a:rPr lang="en-US" dirty="0" smtClean="0"/>
              <a:t>Note (1) Maharashtra Municipal Councils, Nagar Panchayats and Industrial Townships Act, 1965, Chapter IX : Municipal taxation, Section 108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728181" y="1379972"/>
            <a:ext cx="3460652" cy="264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Current septage management practic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783016" y="1454069"/>
            <a:ext cx="4092938" cy="1613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Recommended septage management practic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28181" y="4839037"/>
            <a:ext cx="3460652" cy="6752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Each town mainly has only </a:t>
            </a:r>
            <a:r>
              <a:rPr lang="en-US" sz="1400" b="1" dirty="0"/>
              <a:t>1 truck, owned and operated by the ULB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170220" y="4830924"/>
            <a:ext cx="3460652" cy="6752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/>
              <a:t>Each town will now require  an additional</a:t>
            </a:r>
            <a:r>
              <a:rPr lang="en-US" sz="1200" b="1" dirty="0"/>
              <a:t> 1- 3 trucks to meet service standards</a:t>
            </a:r>
            <a:r>
              <a:rPr lang="en-US" sz="1200" dirty="0"/>
              <a:t>, which can be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b="1" dirty="0"/>
              <a:t>operated by a private player</a:t>
            </a:r>
          </a:p>
        </p:txBody>
      </p:sp>
      <p:sp>
        <p:nvSpPr>
          <p:cNvPr id="33" name="Rectangle 32"/>
          <p:cNvSpPr/>
          <p:nvPr/>
        </p:nvSpPr>
        <p:spPr>
          <a:xfrm>
            <a:off x="728181" y="5637628"/>
            <a:ext cx="3460652" cy="6752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Households generally pay ~</a:t>
            </a:r>
            <a:r>
              <a:rPr lang="en-US" sz="1400" b="1" dirty="0">
                <a:solidFill>
                  <a:schemeClr val="tx1"/>
                </a:solidFill>
              </a:rPr>
              <a:t>INR 400-1000 </a:t>
            </a:r>
            <a:r>
              <a:rPr lang="en-US" sz="1400" dirty="0">
                <a:solidFill>
                  <a:schemeClr val="tx1"/>
                </a:solidFill>
              </a:rPr>
              <a:t>to get </a:t>
            </a:r>
            <a:r>
              <a:rPr lang="en-US" sz="1400" b="1" dirty="0">
                <a:solidFill>
                  <a:schemeClr val="tx1"/>
                </a:solidFill>
              </a:rPr>
              <a:t>tanks cleaned</a:t>
            </a:r>
            <a:r>
              <a:rPr lang="en-US" sz="1400" dirty="0">
                <a:solidFill>
                  <a:schemeClr val="tx1"/>
                </a:solidFill>
              </a:rPr>
              <a:t>, but only once in &gt;8-10 years when the tanks overflow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170220" y="5625457"/>
            <a:ext cx="3460652" cy="6752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Local taxes levied </a:t>
            </a:r>
            <a:r>
              <a:rPr lang="en-US" sz="1200" dirty="0"/>
              <a:t>by the ULB as </a:t>
            </a:r>
            <a:r>
              <a:rPr lang="en-US" sz="1200" b="1" dirty="0"/>
              <a:t>per municipal act</a:t>
            </a:r>
            <a:r>
              <a:rPr lang="en-US" sz="1200" b="1" baseline="30000" dirty="0">
                <a:solidFill>
                  <a:srgbClr val="FF0000"/>
                </a:solidFill>
              </a:rPr>
              <a:t> </a:t>
            </a:r>
            <a:r>
              <a:rPr lang="en-US" sz="1200" b="1" baseline="30000" dirty="0">
                <a:solidFill>
                  <a:schemeClr val="tx1"/>
                </a:solidFill>
              </a:rPr>
              <a:t>1</a:t>
            </a:r>
            <a:r>
              <a:rPr lang="en-US" sz="1200" b="1" dirty="0"/>
              <a:t> </a:t>
            </a:r>
            <a:r>
              <a:rPr lang="en-US" sz="1200" dirty="0"/>
              <a:t>will be used to </a:t>
            </a:r>
            <a:r>
              <a:rPr lang="en-US" sz="1200" b="1" dirty="0"/>
              <a:t>recover</a:t>
            </a:r>
            <a:r>
              <a:rPr lang="en-US" sz="1200" dirty="0"/>
              <a:t> the </a:t>
            </a:r>
            <a:r>
              <a:rPr lang="en-US" sz="1200" b="1" dirty="0"/>
              <a:t>operating expenses</a:t>
            </a:r>
            <a:r>
              <a:rPr lang="en-US" sz="1200" dirty="0"/>
              <a:t> for regular cleaning</a:t>
            </a:r>
          </a:p>
        </p:txBody>
      </p:sp>
      <p:sp>
        <p:nvSpPr>
          <p:cNvPr id="35" name="Isosceles Triangle 34"/>
          <p:cNvSpPr/>
          <p:nvPr/>
        </p:nvSpPr>
        <p:spPr>
          <a:xfrm rot="5400000">
            <a:off x="3182572" y="4650021"/>
            <a:ext cx="2955806" cy="24508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8" dirty="0">
              <a:solidFill>
                <a:srgbClr val="FFFFFF"/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728181" y="3179465"/>
            <a:ext cx="346065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5170220" y="3179465"/>
            <a:ext cx="346065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/>
          <p:cNvSpPr txBox="1"/>
          <p:nvPr/>
        </p:nvSpPr>
        <p:spPr>
          <a:xfrm>
            <a:off x="5170220" y="2827772"/>
            <a:ext cx="3460652" cy="33234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</a:schemeClr>
                </a:solidFill>
              </a:rPr>
              <a:t>Proposed solution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28181" y="2827772"/>
            <a:ext cx="3460652" cy="332345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r>
              <a:rPr lang="en-US" sz="1600" b="1" dirty="0">
                <a:solidFill>
                  <a:schemeClr val="tx1">
                    <a:lumMod val="75000"/>
                  </a:schemeClr>
                </a:solidFill>
              </a:rPr>
              <a:t>Current barriers</a:t>
            </a:r>
          </a:p>
        </p:txBody>
      </p:sp>
      <p:sp>
        <p:nvSpPr>
          <p:cNvPr id="54" name="Rectangle 53"/>
          <p:cNvSpPr/>
          <p:nvPr/>
        </p:nvSpPr>
        <p:spPr>
          <a:xfrm>
            <a:off x="728181" y="1871447"/>
            <a:ext cx="3460652" cy="8440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rgbClr val="C00000"/>
                </a:solidFill>
              </a:rPr>
              <a:t>~2-4% </a:t>
            </a:r>
            <a:r>
              <a:rPr lang="en-US" dirty="0">
                <a:solidFill>
                  <a:schemeClr val="tx1"/>
                </a:solidFill>
              </a:rPr>
              <a:t>of tanks cleaned per </a:t>
            </a:r>
            <a:r>
              <a:rPr lang="en-US" dirty="0" smtClean="0">
                <a:solidFill>
                  <a:schemeClr val="tx1"/>
                </a:solidFill>
              </a:rPr>
              <a:t>year (once </a:t>
            </a:r>
            <a:r>
              <a:rPr lang="en-US" dirty="0">
                <a:solidFill>
                  <a:schemeClr val="tx1"/>
                </a:solidFill>
              </a:rPr>
              <a:t>in </a:t>
            </a:r>
            <a:r>
              <a:rPr lang="en-US" b="1" dirty="0">
                <a:solidFill>
                  <a:srgbClr val="C00000"/>
                </a:solidFill>
              </a:rPr>
              <a:t>&gt;8-10 years</a:t>
            </a:r>
            <a:r>
              <a:rPr lang="en-US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5" name="Rectangle 54"/>
          <p:cNvSpPr/>
          <p:nvPr/>
        </p:nvSpPr>
        <p:spPr>
          <a:xfrm>
            <a:off x="5170220" y="1862802"/>
            <a:ext cx="3460652" cy="84406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C00000"/>
                </a:solidFill>
              </a:rPr>
              <a:t>~33% </a:t>
            </a:r>
            <a:r>
              <a:rPr lang="en-US" sz="1600" dirty="0">
                <a:solidFill>
                  <a:schemeClr val="tx1"/>
                </a:solidFill>
              </a:rPr>
              <a:t>of tanks cleaned per year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(once in </a:t>
            </a:r>
            <a:r>
              <a:rPr lang="en-US" sz="1600" b="1" dirty="0">
                <a:solidFill>
                  <a:srgbClr val="C00000"/>
                </a:solidFill>
              </a:rPr>
              <a:t>3 -5 years</a:t>
            </a:r>
            <a:r>
              <a:rPr lang="en-US" sz="16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6" name="Right Arrow 55"/>
          <p:cNvSpPr/>
          <p:nvPr/>
        </p:nvSpPr>
        <p:spPr>
          <a:xfrm>
            <a:off x="4288988" y="2037696"/>
            <a:ext cx="781076" cy="59822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8" dirty="0"/>
          </a:p>
        </p:txBody>
      </p:sp>
      <p:cxnSp>
        <p:nvCxnSpPr>
          <p:cNvPr id="58" name="Straight Connector 57"/>
          <p:cNvCxnSpPr/>
          <p:nvPr/>
        </p:nvCxnSpPr>
        <p:spPr>
          <a:xfrm>
            <a:off x="728183" y="2851218"/>
            <a:ext cx="7902691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/>
          <p:cNvSpPr/>
          <p:nvPr/>
        </p:nvSpPr>
        <p:spPr>
          <a:xfrm>
            <a:off x="728181" y="3332191"/>
            <a:ext cx="3460652" cy="13967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leaning is done </a:t>
            </a:r>
            <a:r>
              <a:rPr lang="en-US" sz="1200" b="1" dirty="0">
                <a:solidFill>
                  <a:srgbClr val="C00000"/>
                </a:solidFill>
              </a:rPr>
              <a:t>on-call</a:t>
            </a:r>
            <a:r>
              <a:rPr lang="en-US" sz="1200" dirty="0">
                <a:solidFill>
                  <a:schemeClr val="tx1"/>
                </a:solidFill>
              </a:rPr>
              <a:t> by the household, who do not see the need for regular cleaning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The </a:t>
            </a:r>
            <a:r>
              <a:rPr lang="en-US" sz="1200" b="1" dirty="0">
                <a:solidFill>
                  <a:srgbClr val="C00000"/>
                </a:solidFill>
              </a:rPr>
              <a:t>cleaning services </a:t>
            </a:r>
            <a:r>
              <a:rPr lang="en-US" sz="1200" dirty="0">
                <a:solidFill>
                  <a:schemeClr val="tx1"/>
                </a:solidFill>
              </a:rPr>
              <a:t>of the ULB are  currently treated as a </a:t>
            </a:r>
            <a:r>
              <a:rPr lang="en-US" sz="1200" b="1" dirty="0">
                <a:solidFill>
                  <a:srgbClr val="C00000"/>
                </a:solidFill>
              </a:rPr>
              <a:t>complaint </a:t>
            </a:r>
            <a:r>
              <a:rPr lang="en-US" sz="1200" b="1" dirty="0" err="1">
                <a:solidFill>
                  <a:srgbClr val="C00000"/>
                </a:solidFill>
              </a:rPr>
              <a:t>redressal</a:t>
            </a:r>
            <a:r>
              <a:rPr lang="en-US" sz="1200" b="1" dirty="0">
                <a:solidFill>
                  <a:srgbClr val="C00000"/>
                </a:solidFill>
              </a:rPr>
              <a:t> </a:t>
            </a:r>
            <a:r>
              <a:rPr lang="en-US" sz="1200" dirty="0">
                <a:solidFill>
                  <a:schemeClr val="tx1"/>
                </a:solidFill>
              </a:rPr>
              <a:t>system for overflowing septic tanks rather than a regular cleaning and maintenance service </a:t>
            </a:r>
          </a:p>
        </p:txBody>
      </p:sp>
      <p:sp>
        <p:nvSpPr>
          <p:cNvPr id="60" name="Rectangle 59"/>
          <p:cNvSpPr/>
          <p:nvPr/>
        </p:nvSpPr>
        <p:spPr>
          <a:xfrm>
            <a:off x="5170220" y="3328136"/>
            <a:ext cx="3460652" cy="13967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dirty="0"/>
              <a:t>Septic tanks will be cleaned on a </a:t>
            </a:r>
            <a:r>
              <a:rPr lang="en-US" sz="1100" b="1" dirty="0">
                <a:solidFill>
                  <a:srgbClr val="C00000"/>
                </a:solidFill>
              </a:rPr>
              <a:t>pre-determined schedule</a:t>
            </a:r>
          </a:p>
          <a:p>
            <a:pPr algn="ctr"/>
            <a:endParaRPr lang="en-US" sz="1100" b="1" dirty="0"/>
          </a:p>
          <a:p>
            <a:pPr algn="ctr"/>
            <a:r>
              <a:rPr lang="en-US" sz="1100" b="1" dirty="0">
                <a:solidFill>
                  <a:srgbClr val="C00000"/>
                </a:solidFill>
              </a:rPr>
              <a:t>Regulations</a:t>
            </a:r>
            <a:r>
              <a:rPr lang="en-US" sz="1100" dirty="0"/>
              <a:t> and </a:t>
            </a:r>
            <a:r>
              <a:rPr lang="en-US" sz="1100" b="1" dirty="0">
                <a:solidFill>
                  <a:srgbClr val="C00000"/>
                </a:solidFill>
              </a:rPr>
              <a:t>penalties</a:t>
            </a:r>
            <a:r>
              <a:rPr lang="en-US" sz="1100" dirty="0"/>
              <a:t> will be set in place to </a:t>
            </a:r>
            <a:r>
              <a:rPr lang="en-US" sz="1100" b="1" dirty="0"/>
              <a:t>ensure </a:t>
            </a:r>
            <a:r>
              <a:rPr lang="en-US" sz="1100" b="1" dirty="0">
                <a:solidFill>
                  <a:srgbClr val="C00000"/>
                </a:solidFill>
              </a:rPr>
              <a:t>periodic</a:t>
            </a:r>
            <a:r>
              <a:rPr lang="en-US" sz="1100" b="1" dirty="0"/>
              <a:t> </a:t>
            </a:r>
            <a:r>
              <a:rPr lang="en-US" sz="1100" b="1" dirty="0">
                <a:solidFill>
                  <a:srgbClr val="C00000"/>
                </a:solidFill>
              </a:rPr>
              <a:t>cleaning</a:t>
            </a:r>
          </a:p>
          <a:p>
            <a:pPr algn="ctr"/>
            <a:endParaRPr lang="en-US" sz="1100" b="1" dirty="0"/>
          </a:p>
          <a:p>
            <a:pPr algn="ctr"/>
            <a:r>
              <a:rPr lang="en-US" sz="1100" b="1" dirty="0">
                <a:solidFill>
                  <a:srgbClr val="C00000"/>
                </a:solidFill>
              </a:rPr>
              <a:t>Awareness</a:t>
            </a:r>
            <a:r>
              <a:rPr lang="en-US" sz="1100" b="1" dirty="0"/>
              <a:t> </a:t>
            </a:r>
            <a:r>
              <a:rPr lang="en-US" sz="1100" b="1" dirty="0">
                <a:solidFill>
                  <a:srgbClr val="C00000"/>
                </a:solidFill>
              </a:rPr>
              <a:t>generation</a:t>
            </a:r>
            <a:r>
              <a:rPr lang="en-US" sz="1100" b="1" dirty="0"/>
              <a:t> </a:t>
            </a:r>
            <a:r>
              <a:rPr lang="en-US" sz="1100" dirty="0"/>
              <a:t>activities will educate households about the need for regular cleaning</a:t>
            </a:r>
          </a:p>
        </p:txBody>
      </p:sp>
      <p:sp>
        <p:nvSpPr>
          <p:cNvPr id="61" name="Oval 60"/>
          <p:cNvSpPr/>
          <p:nvPr/>
        </p:nvSpPr>
        <p:spPr>
          <a:xfrm>
            <a:off x="583865" y="3333778"/>
            <a:ext cx="253218" cy="25688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92" dirty="0"/>
              <a:t>1</a:t>
            </a:r>
          </a:p>
        </p:txBody>
      </p:sp>
      <p:sp>
        <p:nvSpPr>
          <p:cNvPr id="62" name="Oval 61"/>
          <p:cNvSpPr/>
          <p:nvPr/>
        </p:nvSpPr>
        <p:spPr>
          <a:xfrm>
            <a:off x="4989475" y="3308421"/>
            <a:ext cx="253218" cy="25688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92" dirty="0"/>
              <a:t>1</a:t>
            </a:r>
          </a:p>
        </p:txBody>
      </p:sp>
      <p:sp>
        <p:nvSpPr>
          <p:cNvPr id="63" name="Oval 62"/>
          <p:cNvSpPr/>
          <p:nvPr/>
        </p:nvSpPr>
        <p:spPr>
          <a:xfrm>
            <a:off x="583865" y="4766683"/>
            <a:ext cx="253218" cy="25688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92" dirty="0"/>
              <a:t>2</a:t>
            </a:r>
          </a:p>
        </p:txBody>
      </p:sp>
      <p:sp>
        <p:nvSpPr>
          <p:cNvPr id="64" name="Oval 63"/>
          <p:cNvSpPr/>
          <p:nvPr/>
        </p:nvSpPr>
        <p:spPr>
          <a:xfrm>
            <a:off x="4989475" y="4754511"/>
            <a:ext cx="253218" cy="25688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92" dirty="0"/>
              <a:t>2</a:t>
            </a:r>
          </a:p>
        </p:txBody>
      </p:sp>
      <p:sp>
        <p:nvSpPr>
          <p:cNvPr id="65" name="Oval 64"/>
          <p:cNvSpPr/>
          <p:nvPr/>
        </p:nvSpPr>
        <p:spPr>
          <a:xfrm>
            <a:off x="4989475" y="5552138"/>
            <a:ext cx="253218" cy="25688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92" dirty="0"/>
              <a:t>3</a:t>
            </a:r>
          </a:p>
        </p:txBody>
      </p:sp>
      <p:sp>
        <p:nvSpPr>
          <p:cNvPr id="66" name="Oval 65"/>
          <p:cNvSpPr/>
          <p:nvPr/>
        </p:nvSpPr>
        <p:spPr>
          <a:xfrm>
            <a:off x="583865" y="5564310"/>
            <a:ext cx="253218" cy="256882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92" dirty="0"/>
              <a:t>3</a:t>
            </a:r>
          </a:p>
        </p:txBody>
      </p:sp>
      <p:sp>
        <p:nvSpPr>
          <p:cNvPr id="31" name="Right Arrow 30"/>
          <p:cNvSpPr/>
          <p:nvPr/>
        </p:nvSpPr>
        <p:spPr>
          <a:xfrm>
            <a:off x="5155691" y="97664"/>
            <a:ext cx="1391350" cy="598220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8" dirty="0"/>
              <a:t> </a:t>
            </a:r>
          </a:p>
        </p:txBody>
      </p:sp>
      <p:sp>
        <p:nvSpPr>
          <p:cNvPr id="4" name="Rectangle 3"/>
          <p:cNvSpPr/>
          <p:nvPr/>
        </p:nvSpPr>
        <p:spPr>
          <a:xfrm>
            <a:off x="728183" y="914400"/>
            <a:ext cx="3460651" cy="351692"/>
          </a:xfrm>
          <a:prstGeom prst="rect">
            <a:avLst/>
          </a:prstGeom>
          <a:solidFill>
            <a:schemeClr val="tx1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b="1" dirty="0">
                <a:solidFill>
                  <a:schemeClr val="bg1"/>
                </a:solidFill>
              </a:rPr>
              <a:t>Existing Practic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5067460" y="914400"/>
            <a:ext cx="3460651" cy="351692"/>
          </a:xfrm>
          <a:prstGeom prst="rect">
            <a:avLst/>
          </a:prstGeom>
          <a:solidFill>
            <a:schemeClr val="tx1"/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62" b="1" dirty="0">
                <a:solidFill>
                  <a:schemeClr val="bg1"/>
                </a:solidFill>
              </a:rPr>
              <a:t>Recommended Practice</a:t>
            </a:r>
          </a:p>
        </p:txBody>
      </p:sp>
    </p:spTree>
    <p:extLst>
      <p:ext uri="{BB962C8B-B14F-4D97-AF65-F5344CB8AC3E}">
        <p14:creationId xmlns:p14="http://schemas.microsoft.com/office/powerpoint/2010/main" val="755496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Septage_dumping_on_dump_site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22031" y="1107831"/>
            <a:ext cx="8440615" cy="5275385"/>
          </a:xfrm>
          <a:prstGeom prst="rect">
            <a:avLst/>
          </a:prstGeom>
        </p:spPr>
      </p:pic>
      <p:sp>
        <p:nvSpPr>
          <p:cNvPr id="7" name="Title 7"/>
          <p:cNvSpPr txBox="1">
            <a:spLocks/>
          </p:cNvSpPr>
          <p:nvPr/>
        </p:nvSpPr>
        <p:spPr bwMode="auto">
          <a:xfrm>
            <a:off x="422031" y="100012"/>
            <a:ext cx="8188569" cy="492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2"/>
                </a:solidFill>
                <a:latin typeface="Constantia" pitchFamily="18" charset="0"/>
              </a:defRPr>
            </a:lvl9pPr>
          </a:lstStyle>
          <a:p>
            <a:r>
              <a:rPr lang="en-IN" sz="2215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Existing situation in ULBs of Maharashtra  -  </a:t>
            </a:r>
            <a:endParaRPr lang="en-IN" sz="2215" dirty="0" smtClean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IN" sz="2215" dirty="0" smtClean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D</a:t>
            </a:r>
            <a:r>
              <a:rPr lang="mr-IN" sz="2215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umping site वर मैलाची विल्हेवाट</a:t>
            </a:r>
            <a:r>
              <a:rPr lang="mr-IN" sz="2954" dirty="0" smtClean="0">
                <a:solidFill>
                  <a:srgbClr val="C00000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  <a:endParaRPr lang="en-US" sz="2215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17248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6765" y="197568"/>
            <a:ext cx="8499276" cy="492369"/>
          </a:xfrm>
        </p:spPr>
        <p:txBody>
          <a:bodyPr>
            <a:normAutofit fontScale="90000"/>
          </a:bodyPr>
          <a:lstStyle/>
          <a:p>
            <a:r>
              <a:rPr lang="en-US" b="1" dirty="0" smtClean="0"/>
              <a:t>Available </a:t>
            </a:r>
            <a:r>
              <a:rPr lang="en-US" b="1" dirty="0" err="1" smtClean="0"/>
              <a:t>Septage</a:t>
            </a:r>
            <a:r>
              <a:rPr lang="en-US" b="1" dirty="0" smtClean="0"/>
              <a:t> </a:t>
            </a:r>
            <a:r>
              <a:rPr lang="en-US" dirty="0" smtClean="0"/>
              <a:t>T</a:t>
            </a:r>
            <a:r>
              <a:rPr lang="en-US" b="1" dirty="0" smtClean="0"/>
              <a:t>reatment options</a:t>
            </a:r>
            <a:endParaRPr lang="en-US" b="1" dirty="0"/>
          </a:p>
        </p:txBody>
      </p:sp>
      <p:grpSp>
        <p:nvGrpSpPr>
          <p:cNvPr id="33" name="Group 32"/>
          <p:cNvGrpSpPr/>
          <p:nvPr/>
        </p:nvGrpSpPr>
        <p:grpSpPr>
          <a:xfrm>
            <a:off x="35124" y="1156447"/>
            <a:ext cx="9073752" cy="5086092"/>
            <a:chOff x="0" y="-120360"/>
            <a:chExt cx="13858972" cy="6786887"/>
          </a:xfrm>
        </p:grpSpPr>
        <p:sp>
          <p:nvSpPr>
            <p:cNvPr id="34" name="Rectangle 33"/>
            <p:cNvSpPr/>
            <p:nvPr/>
          </p:nvSpPr>
          <p:spPr>
            <a:xfrm>
              <a:off x="0" y="2594561"/>
              <a:ext cx="2214578" cy="1643074"/>
            </a:xfrm>
            <a:prstGeom prst="rect">
              <a:avLst/>
            </a:prstGeom>
            <a:solidFill>
              <a:srgbClr val="EEECE1">
                <a:lumMod val="2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US" sz="1846" b="1" kern="0">
                  <a:solidFill>
                    <a:sysClr val="window" lastClr="FFFFFF"/>
                  </a:solidFill>
                  <a:latin typeface="Palatino Linotype" pitchFamily="18" charset="0"/>
                </a:rPr>
                <a:t>Septage Treatment Options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3571899" y="665735"/>
              <a:ext cx="2189186" cy="1071571"/>
            </a:xfrm>
            <a:prstGeom prst="rect">
              <a:avLst/>
            </a:prstGeom>
            <a:solidFill>
              <a:srgbClr val="EEECE1">
                <a:lumMod val="50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US" sz="1477" b="1" kern="0" dirty="0">
                  <a:solidFill>
                    <a:sysClr val="window" lastClr="FFFFFF"/>
                  </a:solidFill>
                  <a:latin typeface="Palatino Linotype" pitchFamily="18" charset="0"/>
                </a:rPr>
                <a:t>Group A :</a:t>
              </a:r>
            </a:p>
            <a:p>
              <a:pPr algn="ctr" defTabSz="844083">
                <a:defRPr/>
              </a:pPr>
              <a:r>
                <a:rPr lang="en-US" sz="1477" b="1" kern="0" dirty="0">
                  <a:solidFill>
                    <a:sysClr val="window" lastClr="FFFFFF"/>
                  </a:solidFill>
                  <a:latin typeface="Palatino Linotype" pitchFamily="18" charset="0"/>
                </a:rPr>
                <a:t>Septage  to Compost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571900" y="4809139"/>
              <a:ext cx="2071702" cy="1071570"/>
            </a:xfrm>
            <a:prstGeom prst="rect">
              <a:avLst/>
            </a:prstGeom>
            <a:solidFill>
              <a:srgbClr val="C0504D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US" sz="1477" b="1" kern="0" dirty="0">
                  <a:solidFill>
                    <a:sysClr val="window" lastClr="FFFFFF"/>
                  </a:solidFill>
                  <a:latin typeface="Palatino Linotype" pitchFamily="18" charset="0"/>
                </a:rPr>
                <a:t>Group  B:</a:t>
              </a:r>
            </a:p>
            <a:p>
              <a:pPr algn="ctr" defTabSz="844083">
                <a:defRPr/>
              </a:pPr>
              <a:r>
                <a:rPr lang="en-US" sz="1477" b="1" kern="0" dirty="0" err="1">
                  <a:solidFill>
                    <a:sysClr val="window" lastClr="FFFFFF"/>
                  </a:solidFill>
                  <a:latin typeface="Palatino Linotype" pitchFamily="18" charset="0"/>
                </a:rPr>
                <a:t>Septage</a:t>
              </a:r>
              <a:r>
                <a:rPr lang="en-US" sz="1477" b="1" kern="0" dirty="0">
                  <a:solidFill>
                    <a:sysClr val="window" lastClr="FFFFFF"/>
                  </a:solidFill>
                  <a:latin typeface="Palatino Linotype" pitchFamily="18" charset="0"/>
                </a:rPr>
                <a:t>  to Energy</a:t>
              </a:r>
            </a:p>
          </p:txBody>
        </p:sp>
        <p:cxnSp>
          <p:nvCxnSpPr>
            <p:cNvPr id="37" name="Elbow Connector 36"/>
            <p:cNvCxnSpPr>
              <a:stCxn id="34" idx="3"/>
              <a:endCxn id="35" idx="1"/>
            </p:cNvCxnSpPr>
            <p:nvPr/>
          </p:nvCxnSpPr>
          <p:spPr>
            <a:xfrm flipV="1">
              <a:off x="2214578" y="1201521"/>
              <a:ext cx="1357321" cy="2214577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38" name="Elbow Connector 37"/>
            <p:cNvCxnSpPr>
              <a:stCxn id="34" idx="3"/>
              <a:endCxn id="36" idx="1"/>
            </p:cNvCxnSpPr>
            <p:nvPr/>
          </p:nvCxnSpPr>
          <p:spPr>
            <a:xfrm>
              <a:off x="2214578" y="3416098"/>
              <a:ext cx="1357322" cy="1928826"/>
            </a:xfrm>
            <a:prstGeom prst="bentConnector3">
              <a:avLst>
                <a:gd name="adj1" fmla="val 50000"/>
              </a:avLst>
            </a:prstGeom>
            <a:noFill/>
            <a:ln w="38100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sp>
          <p:nvSpPr>
            <p:cNvPr id="39" name="Rectangle 38"/>
            <p:cNvSpPr/>
            <p:nvPr/>
          </p:nvSpPr>
          <p:spPr>
            <a:xfrm>
              <a:off x="7000924" y="-120360"/>
              <a:ext cx="6858048" cy="620426"/>
            </a:xfrm>
            <a:prstGeom prst="rect">
              <a:avLst/>
            </a:prstGeom>
            <a:solidFill>
              <a:srgbClr val="EEECE1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US" sz="1477" b="1" kern="0" dirty="0">
                  <a:solidFill>
                    <a:sysClr val="windowText" lastClr="000000"/>
                  </a:solidFill>
                  <a:latin typeface="Palatino Linotype" pitchFamily="18" charset="0"/>
                </a:rPr>
                <a:t>Sedimentation ponds /Settling Tank/ Thickening ponds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000924" y="609804"/>
              <a:ext cx="6858048" cy="500066"/>
            </a:xfrm>
            <a:prstGeom prst="rect">
              <a:avLst/>
            </a:prstGeom>
            <a:solidFill>
              <a:srgbClr val="EEECE1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Sludge drying bed / Unplanted sludge drying bed 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7000924" y="1254248"/>
              <a:ext cx="6858048" cy="428628"/>
            </a:xfrm>
            <a:prstGeom prst="rect">
              <a:avLst/>
            </a:prstGeom>
            <a:solidFill>
              <a:srgbClr val="EEECE1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Planted sludge drying bed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996594" y="1860369"/>
              <a:ext cx="6858048" cy="428628"/>
            </a:xfrm>
            <a:prstGeom prst="rect">
              <a:avLst/>
            </a:prstGeom>
            <a:solidFill>
              <a:srgbClr val="EEECE1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Co – composting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7000924" y="2451685"/>
              <a:ext cx="6858048" cy="428628"/>
            </a:xfrm>
            <a:prstGeom prst="rect">
              <a:avLst/>
            </a:prstGeom>
            <a:solidFill>
              <a:srgbClr val="EEECE1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Mechanical Dewatering </a:t>
              </a: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7000924" y="3023189"/>
              <a:ext cx="6858048" cy="428628"/>
            </a:xfrm>
            <a:prstGeom prst="rect">
              <a:avLst/>
            </a:prstGeom>
            <a:solidFill>
              <a:srgbClr val="EEECE1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Waste Stabilization pond (Non-aerated)</a:t>
              </a: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7000924" y="3594693"/>
              <a:ext cx="6858048" cy="428628"/>
            </a:xfrm>
            <a:prstGeom prst="rect">
              <a:avLst/>
            </a:prstGeom>
            <a:solidFill>
              <a:srgbClr val="EEECE1">
                <a:lumMod val="75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Advanced Nutrient Recovery</a:t>
              </a: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7072362" y="4523387"/>
              <a:ext cx="6786610" cy="428628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Bio-Methanation/Anaerobic biogas reactor</a:t>
              </a: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072362" y="5094891"/>
              <a:ext cx="6786610" cy="428628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Incineration 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072362" y="5666395"/>
              <a:ext cx="6786610" cy="428628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Gasification 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7072362" y="6237899"/>
              <a:ext cx="6786610" cy="428628"/>
            </a:xfrm>
            <a:prstGeom prst="rect">
              <a:avLst/>
            </a:prstGeom>
            <a:solidFill>
              <a:srgbClr val="C0504D">
                <a:lumMod val="40000"/>
                <a:lumOff val="60000"/>
              </a:srgb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square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44083">
                <a:defRPr/>
              </a:pPr>
              <a:r>
                <a:rPr lang="en-IN" sz="1477" b="1" kern="0">
                  <a:solidFill>
                    <a:sysClr val="windowText" lastClr="000000"/>
                  </a:solidFill>
                  <a:latin typeface="Palatino Linotype" pitchFamily="18" charset="0"/>
                </a:rPr>
                <a:t>Pyrolysis  </a:t>
              </a:r>
            </a:p>
          </p:txBody>
        </p:sp>
        <p:cxnSp>
          <p:nvCxnSpPr>
            <p:cNvPr id="50" name="Elbow Connector 49"/>
            <p:cNvCxnSpPr>
              <a:stCxn id="35" idx="3"/>
              <a:endCxn id="39" idx="1"/>
            </p:cNvCxnSpPr>
            <p:nvPr/>
          </p:nvCxnSpPr>
          <p:spPr>
            <a:xfrm flipV="1">
              <a:off x="5761085" y="189854"/>
              <a:ext cx="1239839" cy="1011667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1" name="Elbow Connector 50"/>
            <p:cNvCxnSpPr>
              <a:stCxn id="35" idx="3"/>
              <a:endCxn id="40" idx="1"/>
            </p:cNvCxnSpPr>
            <p:nvPr/>
          </p:nvCxnSpPr>
          <p:spPr>
            <a:xfrm flipV="1">
              <a:off x="5761086" y="859838"/>
              <a:ext cx="1239838" cy="341683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2" name="Elbow Connector 51"/>
            <p:cNvCxnSpPr>
              <a:stCxn id="35" idx="3"/>
              <a:endCxn id="41" idx="1"/>
            </p:cNvCxnSpPr>
            <p:nvPr/>
          </p:nvCxnSpPr>
          <p:spPr>
            <a:xfrm>
              <a:off x="5761086" y="1201521"/>
              <a:ext cx="1239838" cy="267042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3" name="Elbow Connector 52"/>
            <p:cNvCxnSpPr>
              <a:stCxn id="35" idx="3"/>
            </p:cNvCxnSpPr>
            <p:nvPr/>
          </p:nvCxnSpPr>
          <p:spPr>
            <a:xfrm>
              <a:off x="5761086" y="1201521"/>
              <a:ext cx="1239838" cy="732239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4" name="Elbow Connector 53"/>
            <p:cNvCxnSpPr>
              <a:stCxn id="35" idx="3"/>
              <a:endCxn id="43" idx="1"/>
            </p:cNvCxnSpPr>
            <p:nvPr/>
          </p:nvCxnSpPr>
          <p:spPr>
            <a:xfrm>
              <a:off x="5761086" y="1201521"/>
              <a:ext cx="1239838" cy="1464479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5" name="Elbow Connector 54"/>
            <p:cNvCxnSpPr>
              <a:stCxn id="35" idx="3"/>
              <a:endCxn id="44" idx="1"/>
            </p:cNvCxnSpPr>
            <p:nvPr/>
          </p:nvCxnSpPr>
          <p:spPr>
            <a:xfrm>
              <a:off x="5761086" y="1201521"/>
              <a:ext cx="1239838" cy="2035983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6" name="Elbow Connector 55"/>
            <p:cNvCxnSpPr>
              <a:stCxn id="35" idx="3"/>
              <a:endCxn id="45" idx="1"/>
            </p:cNvCxnSpPr>
            <p:nvPr/>
          </p:nvCxnSpPr>
          <p:spPr>
            <a:xfrm>
              <a:off x="5761086" y="1201521"/>
              <a:ext cx="1239838" cy="2607486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EEECE1">
                  <a:lumMod val="2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7" name="Elbow Connector 56"/>
            <p:cNvCxnSpPr>
              <a:stCxn id="36" idx="3"/>
              <a:endCxn id="46" idx="1"/>
            </p:cNvCxnSpPr>
            <p:nvPr/>
          </p:nvCxnSpPr>
          <p:spPr>
            <a:xfrm flipV="1">
              <a:off x="5643602" y="4737701"/>
              <a:ext cx="1428760" cy="607223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C0504D">
                  <a:lumMod val="7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8" name="Elbow Connector 57"/>
            <p:cNvCxnSpPr>
              <a:stCxn id="36" idx="3"/>
              <a:endCxn id="47" idx="1"/>
            </p:cNvCxnSpPr>
            <p:nvPr/>
          </p:nvCxnSpPr>
          <p:spPr>
            <a:xfrm flipV="1">
              <a:off x="5643602" y="5309205"/>
              <a:ext cx="1428760" cy="35719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C0504D">
                  <a:lumMod val="7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59" name="Elbow Connector 58"/>
            <p:cNvCxnSpPr>
              <a:stCxn id="36" idx="3"/>
              <a:endCxn id="48" idx="1"/>
            </p:cNvCxnSpPr>
            <p:nvPr/>
          </p:nvCxnSpPr>
          <p:spPr>
            <a:xfrm>
              <a:off x="5643602" y="5344924"/>
              <a:ext cx="1428760" cy="535785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C0504D">
                  <a:lumMod val="75000"/>
                </a:srgbClr>
              </a:solidFill>
              <a:prstDash val="solid"/>
              <a:tailEnd type="arrow"/>
            </a:ln>
            <a:effectLst/>
          </p:spPr>
        </p:cxnSp>
        <p:cxnSp>
          <p:nvCxnSpPr>
            <p:cNvPr id="60" name="Elbow Connector 59"/>
            <p:cNvCxnSpPr>
              <a:stCxn id="36" idx="3"/>
              <a:endCxn id="49" idx="1"/>
            </p:cNvCxnSpPr>
            <p:nvPr/>
          </p:nvCxnSpPr>
          <p:spPr>
            <a:xfrm>
              <a:off x="5643602" y="5344924"/>
              <a:ext cx="1428760" cy="1107289"/>
            </a:xfrm>
            <a:prstGeom prst="bentConnector3">
              <a:avLst>
                <a:gd name="adj1" fmla="val 50000"/>
              </a:avLst>
            </a:prstGeom>
            <a:noFill/>
            <a:ln w="28575" cap="flat" cmpd="sng" algn="ctr">
              <a:solidFill>
                <a:srgbClr val="C0504D">
                  <a:lumMod val="75000"/>
                </a:srgbClr>
              </a:solidFill>
              <a:prstDash val="solid"/>
              <a:tailEnd type="arrow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80961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Title 13"/>
          <p:cNvSpPr>
            <a:spLocks noGrp="1"/>
          </p:cNvSpPr>
          <p:nvPr>
            <p:ph type="title"/>
          </p:nvPr>
        </p:nvSpPr>
        <p:spPr>
          <a:xfrm>
            <a:off x="112103" y="-228600"/>
            <a:ext cx="7886700" cy="1325563"/>
          </a:xfrm>
        </p:spPr>
        <p:txBody>
          <a:bodyPr>
            <a:normAutofit/>
          </a:bodyPr>
          <a:lstStyle/>
          <a:p>
            <a:pPr eaLnBrk="1" hangingPunct="1"/>
            <a:r>
              <a:rPr lang="en-US" altLang="en-US" sz="32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IFSM </a:t>
            </a:r>
            <a:r>
              <a:rPr lang="mr-IN" altLang="en-US" sz="32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ाठी </a:t>
            </a:r>
            <a:r>
              <a:rPr lang="mr-IN" altLang="en-US" sz="3200" b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ंतर्गत करावयाचे काही प्रमुख </a:t>
            </a:r>
            <a:r>
              <a:rPr lang="mr-IN" altLang="en-US" sz="32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पक्रम</a:t>
            </a:r>
            <a:endParaRPr lang="en-US" altLang="en-US" sz="32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8397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5" t="25000" r="12500" b="16000"/>
          <a:stretch>
            <a:fillRect/>
          </a:stretch>
        </p:blipFill>
        <p:spPr bwMode="auto">
          <a:xfrm>
            <a:off x="329712" y="967154"/>
            <a:ext cx="3749919" cy="2602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5" t="25000" r="12500" b="16000"/>
          <a:stretch>
            <a:fillRect/>
          </a:stretch>
        </p:blipFill>
        <p:spPr bwMode="auto">
          <a:xfrm>
            <a:off x="4589585" y="967154"/>
            <a:ext cx="3780692" cy="2592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3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5" t="25000" r="12500" b="16000"/>
          <a:stretch>
            <a:fillRect/>
          </a:stretch>
        </p:blipFill>
        <p:spPr bwMode="auto">
          <a:xfrm>
            <a:off x="281354" y="3991708"/>
            <a:ext cx="3749920" cy="2602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4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5" t="25000" r="12500" b="16000"/>
          <a:stretch>
            <a:fillRect/>
          </a:stretch>
        </p:blipFill>
        <p:spPr bwMode="auto">
          <a:xfrm>
            <a:off x="4712677" y="4104543"/>
            <a:ext cx="3587262" cy="248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92320" y="972068"/>
            <a:ext cx="3938954" cy="35169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mr-IN" sz="2400" b="1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 टाक्यांची दुरूस्ती</a:t>
            </a:r>
            <a:endParaRPr lang="en-US" sz="2400" b="1" dirty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501661" y="970085"/>
            <a:ext cx="3938954" cy="35169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FSM Zones </a:t>
            </a:r>
            <a:r>
              <a:rPr lang="mr-IN" sz="2400" b="1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नविणे</a:t>
            </a:r>
            <a:endParaRPr lang="en-US" sz="2400" b="1" dirty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11015" y="4018085"/>
            <a:ext cx="3938954" cy="35169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mr-IN" sz="2400" b="1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ैला प्रक्रियेसाठी पर्याय </a:t>
            </a:r>
            <a:endParaRPr lang="en-US" sz="2400" b="1" dirty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572000" y="4028343"/>
            <a:ext cx="3938954" cy="35169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mr-IN" sz="2400" b="1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ंस्थेतर्फे नियमित नियंत्रण </a:t>
            </a:r>
            <a:endParaRPr lang="en-US" sz="2400" b="1" dirty="0">
              <a:solidFill>
                <a:schemeClr val="tx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0" y="3499339"/>
            <a:ext cx="9144000" cy="35169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62" b="1" dirty="0">
                <a:solidFill>
                  <a:schemeClr val="tx1"/>
                </a:solidFill>
              </a:rPr>
              <a:t>Awareness campaign</a:t>
            </a:r>
          </a:p>
        </p:txBody>
      </p:sp>
    </p:spTree>
    <p:extLst>
      <p:ext uri="{BB962C8B-B14F-4D97-AF65-F5344CB8AC3E}">
        <p14:creationId xmlns:p14="http://schemas.microsoft.com/office/powerpoint/2010/main" val="290456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IN" dirty="0" err="1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घड्यावरील</a:t>
            </a:r>
            <a:r>
              <a:rPr lang="en-IN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dirty="0" err="1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विधीमुक्त</a:t>
            </a:r>
            <a:r>
              <a:rPr lang="en-IN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(ODF) </a:t>
            </a:r>
            <a:r>
              <a:rPr lang="en-IN" dirty="0" err="1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</a:t>
            </a:r>
            <a:r>
              <a:rPr lang="en-IN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– </a:t>
            </a:r>
            <a:r>
              <a:rPr lang="en-IN" dirty="0" err="1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्याख्या</a:t>
            </a:r>
            <a:r>
              <a:rPr lang="en-IN" dirty="0">
                <a:solidFill>
                  <a:schemeClr val="tx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en-IN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6262" y="990600"/>
            <a:ext cx="8077200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hindiNumParenR"/>
            </a:pP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ज्य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ांच्य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रिसरात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ुठेह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घड्यावर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विध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होत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सेल</a:t>
            </a:r>
            <a:r>
              <a:rPr lang="en-IN" sz="2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endParaRPr lang="mr-IN" sz="2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457200" indent="-457200">
              <a:buAutoNum type="hindiNumParenR"/>
            </a:pP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ुठेह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घड्यावर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ानव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िष्ठ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व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्याच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सार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होत असल्याचे दिसून येणार नाह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endParaRPr lang="mr-IN" sz="2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457200" indent="-457200">
              <a:buAutoNum type="hindiNumParenR"/>
            </a:pP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जिथे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त्येक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ुटुंब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ंस्थ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व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इतर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त्येक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ालमत्तेस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</a:t>
            </a:r>
            <a:r>
              <a:rPr lang="mr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या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च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पलब्धत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सेल</a:t>
            </a:r>
            <a:r>
              <a:rPr lang="en-IN" sz="2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</a:t>
            </a:r>
            <a:endParaRPr lang="mr-IN" sz="2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457200" indent="-457200">
              <a:buAutoNum type="hindiNumParenR"/>
            </a:pP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ह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े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ुरक्षित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ैल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्यवस्थापन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णालीस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जोडलेली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सतील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,</a:t>
            </a:r>
            <a:endParaRPr lang="mr-IN" sz="2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457200" indent="-457200">
              <a:buFontTx/>
              <a:buAutoNum type="hindiNumParenR"/>
            </a:pPr>
            <a:r>
              <a:rPr lang="mr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भुयारी गटारांमार्फत अथवा सेप्टिक टाक्यांच्या नियमित साफसफाई द्वारे मैला </a:t>
            </a:r>
            <a:r>
              <a:rPr lang="mr-IN" sz="2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जमा </a:t>
            </a:r>
            <a:r>
              <a:rPr lang="mr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रून, त्यावर योग्य </a:t>
            </a:r>
            <a:r>
              <a:rPr lang="mr-IN" sz="2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ी  </a:t>
            </a:r>
            <a:r>
              <a:rPr lang="mr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क्रिया करणे व विल्हेवाट लावणे</a:t>
            </a:r>
          </a:p>
          <a:p>
            <a:pPr marL="457200" indent="-457200">
              <a:buAutoNum type="hindiNumParenR"/>
            </a:pPr>
            <a:endParaRPr lang="mr-IN" sz="2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श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ांन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घड्यावरील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विधींपासून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ुक्त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्हणजेच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ODF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्हणता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6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येईल</a:t>
            </a:r>
            <a:r>
              <a:rPr lang="en-IN" sz="2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</a:t>
            </a:r>
            <a:endParaRPr lang="mr-IN" sz="2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848856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mr-IN" sz="4985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धन्यवाद ! </a:t>
            </a:r>
            <a:endParaRPr lang="en-IN" sz="4985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6019" name="TextBox 4"/>
          <p:cNvSpPr txBox="1">
            <a:spLocks noChangeArrowheads="1"/>
          </p:cNvSpPr>
          <p:nvPr/>
        </p:nvSpPr>
        <p:spPr bwMode="auto">
          <a:xfrm>
            <a:off x="1371600" y="2795954"/>
            <a:ext cx="5873262" cy="2478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nstantia" panose="02030602050306030303" pitchFamily="18" charset="0"/>
                <a:cs typeface="Arial" panose="020B0604020202020204" pitchFamily="34" charset="0"/>
              </a:defRPr>
            </a:lvl9pPr>
          </a:lstStyle>
          <a:p>
            <a:r>
              <a:rPr lang="en-IN" sz="2215" dirty="0" smtClean="0"/>
              <a:t>PAS </a:t>
            </a:r>
            <a:r>
              <a:rPr lang="en-IN" sz="2215" dirty="0"/>
              <a:t>Project,</a:t>
            </a:r>
          </a:p>
          <a:p>
            <a:r>
              <a:rPr lang="en-IN" sz="2215" dirty="0"/>
              <a:t>CEPT University, Ahmedabad</a:t>
            </a:r>
          </a:p>
          <a:p>
            <a:endParaRPr lang="en-IN" sz="2215" dirty="0"/>
          </a:p>
          <a:p>
            <a:r>
              <a:rPr lang="en-IN" sz="2215" dirty="0">
                <a:solidFill>
                  <a:srgbClr val="C00000"/>
                </a:solidFill>
              </a:rPr>
              <a:t>www.pas.org.in</a:t>
            </a:r>
          </a:p>
          <a:p>
            <a:r>
              <a:rPr lang="en-US" sz="2215" dirty="0">
                <a:solidFill>
                  <a:srgbClr val="C00000"/>
                </a:solidFill>
              </a:rPr>
              <a:t>pas@cept.ac.in</a:t>
            </a:r>
            <a:endParaRPr lang="en-IN" sz="2215" dirty="0">
              <a:solidFill>
                <a:srgbClr val="C00000"/>
              </a:solidFill>
            </a:endParaRPr>
          </a:p>
          <a:p>
            <a:r>
              <a:rPr lang="en-IN" sz="2215" dirty="0">
                <a:solidFill>
                  <a:srgbClr val="C00000"/>
                </a:solidFill>
              </a:rPr>
              <a:t>utkarshakavadi@yahoo.com</a:t>
            </a:r>
          </a:p>
          <a:p>
            <a:r>
              <a:rPr lang="en-IN" sz="2215" dirty="0">
                <a:solidFill>
                  <a:srgbClr val="C00000"/>
                </a:solidFill>
              </a:rPr>
              <a:t>96196</a:t>
            </a:r>
            <a:r>
              <a:rPr lang="mr-IN" sz="2215" dirty="0">
                <a:solidFill>
                  <a:srgbClr val="C00000"/>
                </a:solidFill>
              </a:rPr>
              <a:t> </a:t>
            </a:r>
            <a:r>
              <a:rPr lang="en-IN" sz="2215" dirty="0">
                <a:solidFill>
                  <a:srgbClr val="C00000"/>
                </a:solidFill>
              </a:rPr>
              <a:t>79919</a:t>
            </a:r>
          </a:p>
        </p:txBody>
      </p:sp>
      <p:pic>
        <p:nvPicPr>
          <p:cNvPr id="86020" name="Picture 16" descr="D:\PAS YA DUR 2\PAS Logo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5665177"/>
            <a:ext cx="3323492" cy="693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6755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 smtClean="0"/>
              <a:t>ODF+ and ODF ++ Cities</a:t>
            </a:r>
            <a:endParaRPr lang="en-IN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9478262"/>
              </p:ext>
            </p:extLst>
          </p:nvPr>
        </p:nvGraphicFramePr>
        <p:xfrm>
          <a:off x="0" y="914400"/>
          <a:ext cx="9144000" cy="594359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14400"/>
                <a:gridCol w="2292113"/>
                <a:gridCol w="3499087"/>
                <a:gridCol w="2438400"/>
              </a:tblGrid>
              <a:tr h="595272">
                <a:tc>
                  <a:txBody>
                    <a:bodyPr/>
                    <a:lstStyle/>
                    <a:p>
                      <a:pPr marL="2286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 </a:t>
                      </a:r>
                      <a:endParaRPr lang="en-IN" sz="1400" dirty="0"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51038" marR="51038" marT="8321" marB="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3937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i-IN" sz="1600" b="1" dirty="0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घड्यावर शौच पध्दतीचे </a:t>
                      </a:r>
                      <a:r>
                        <a:rPr lang="en-IN" sz="1600" b="1" dirty="0" err="1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निर्मूलन</a:t>
                      </a:r>
                      <a:r>
                        <a:rPr lang="en-IN" sz="1600" b="1" dirty="0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endParaRPr lang="en-IN" sz="1800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-6350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N" sz="1600" b="1" dirty="0" err="1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ौचालयांची</a:t>
                      </a:r>
                      <a:r>
                        <a:rPr lang="en-IN" sz="1600" b="1" dirty="0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mr-IN" sz="1600" b="1" dirty="0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600" b="1" dirty="0" err="1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पलब्धता</a:t>
                      </a:r>
                      <a:r>
                        <a:rPr lang="en-IN" sz="1600" b="1" dirty="0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endParaRPr lang="en-IN" sz="1800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hi-IN" sz="1600" b="1" dirty="0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ैलाची वाहतूक व </a:t>
                      </a:r>
                      <a:r>
                        <a:rPr lang="en-IN" sz="1600" b="1" dirty="0" err="1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्रक्रिया</a:t>
                      </a:r>
                      <a:r>
                        <a:rPr lang="en-IN" sz="1600" b="1" dirty="0" smtClean="0">
                          <a:solidFill>
                            <a:schemeClr val="bg1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endParaRPr lang="en-IN" sz="1800" dirty="0">
                        <a:solidFill>
                          <a:schemeClr val="bg1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 anchor="ctr">
                    <a:solidFill>
                      <a:schemeClr val="tx2"/>
                    </a:solidFill>
                  </a:tcPr>
                </a:tc>
              </a:tr>
              <a:tr h="1462343">
                <a:tc>
                  <a:txBody>
                    <a:bodyPr/>
                    <a:lstStyle/>
                    <a:p>
                      <a:pPr indent="254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ODF </a:t>
                      </a:r>
                      <a:r>
                        <a:rPr lang="en-IN" sz="1800" dirty="0" err="1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े</a:t>
                      </a:r>
                      <a:r>
                        <a:rPr lang="en-IN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</a:p>
                  </a:txBody>
                  <a:tcPr marL="51038" marR="51038" marT="8321" marB="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 कोणीही उघड्यावर शौचास बसलेले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आढळून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न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येण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दिवसाच्या कोणत्याही वेळेस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घड्यावर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िष्ठेच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पुरा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े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आढळून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न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येण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 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SzPts val="1100"/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ील सर्व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ालमत्तांना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स्वत: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च्य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किंव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ापरण्यायोग्य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सामुदायिक / सार्वज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नि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क शौचाल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यां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ची सुविधा उपलब्ध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SzPts val="1100"/>
                        <a:buFont typeface="+mj-cs"/>
                        <a:buAutoNum type="hindiNumParenR"/>
                      </a:pP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ील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तरंगत्य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लोकसंख्येसाठ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ुरेश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ापरण्यायोग्य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सार्वज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नि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क शौचाल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यां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ची सुविधा उपलब्ध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SzPts val="1100"/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ील सर्व शौचालये 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‘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ैल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िल्हेवाट प्रणाली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’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ी 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(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dispos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system)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जोडलेली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/>
                </a:tc>
              </a:tr>
              <a:tr h="1705167">
                <a:tc>
                  <a:txBody>
                    <a:bodyPr/>
                    <a:lstStyle/>
                    <a:p>
                      <a:pPr indent="3556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ODF+ </a:t>
                      </a:r>
                      <a:r>
                        <a:rPr lang="en-IN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800" dirty="0" err="1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े</a:t>
                      </a:r>
                      <a:r>
                        <a:rPr lang="en-IN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</a:p>
                    <a:p>
                      <a:pPr indent="254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 </a:t>
                      </a:r>
                      <a:endParaRPr lang="en-IN" sz="1800" dirty="0"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51038" marR="51038" marT="8321" marB="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hi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 कोणीही उघड्यावर शौचास बसलेले </a:t>
                      </a: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आढळून न येणे</a:t>
                      </a:r>
                      <a:r>
                        <a:rPr lang="hi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 </a:t>
                      </a: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endParaRPr lang="en-IN" sz="140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hi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दिवसाच्या कोणत्याही वेळेस </a:t>
                      </a: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 </a:t>
                      </a:r>
                      <a:r>
                        <a:rPr lang="hi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घड्यावर </a:t>
                      </a: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िष्ठेचे</a:t>
                      </a:r>
                      <a:r>
                        <a:rPr lang="hi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पुरा</a:t>
                      </a:r>
                      <a:r>
                        <a:rPr lang="en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े आढळून न येणे</a:t>
                      </a:r>
                      <a:r>
                        <a:rPr lang="hi-IN" sz="140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 </a:t>
                      </a:r>
                      <a:endParaRPr lang="en-IN" sz="140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SzPts val="1100"/>
                        <a:buFont typeface="+mj-cs"/>
                        <a:buAutoNum type="hindiNumParenR"/>
                      </a:pP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ील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किमान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८० % 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निवास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ालमत्तांन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्वतःच्य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(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घरगुत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)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ौचालयांच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ुविध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पलब्ध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SzPts val="1100"/>
                        <a:buFont typeface="+mj-cs"/>
                        <a:buAutoNum type="hindiNumParenR"/>
                      </a:pP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र्वरित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ालमत्तांन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तरंगत्य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लोकसंख्येसाठ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ुरेश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ापरण्यायोग्य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ामुदायिक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/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ार्वजनिक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ौचालयांच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ुविध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पलब्ध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SzPts val="1100"/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ील सर्व शौचालये 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‘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ैल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िल्हेवाट प्रणाली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’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ी 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(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dispos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system)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जोडलेली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SzPts val="1100"/>
                        <a:buFont typeface="+mj-cs"/>
                        <a:buAutoNum type="hindiNumParenR"/>
                      </a:pP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र्व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ै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लाचे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नियमित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ुरक्षित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ंकलन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,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ाहतूक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्रक्रिया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होणे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  <a:endParaRPr lang="en-IN" sz="1400" b="1" dirty="0">
                        <a:solidFill>
                          <a:srgbClr val="FF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/>
                </a:tc>
              </a:tr>
              <a:tr h="2180817">
                <a:tc>
                  <a:txBody>
                    <a:bodyPr/>
                    <a:lstStyle/>
                    <a:p>
                      <a:pPr indent="3556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ODF++ </a:t>
                      </a:r>
                      <a:r>
                        <a:rPr lang="en-IN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800" dirty="0" err="1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े</a:t>
                      </a:r>
                      <a:r>
                        <a:rPr lang="en-IN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</a:p>
                    <a:p>
                      <a:pPr marL="228600"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800" dirty="0"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 </a:t>
                      </a:r>
                      <a:endParaRPr lang="en-IN" sz="1800" dirty="0"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51038" marR="51038" marT="8321" marB="0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 कोणीही उघड्यावर शौचास बसलेले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आढळून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न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येण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दिवसाच्या कोणत्याही वेळेस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घड्यावर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िष्ठेच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पुरा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े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आढळून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न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येणे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 </a:t>
                      </a:r>
                      <a:endParaRPr lang="en-IN" sz="1400" dirty="0">
                        <a:solidFill>
                          <a:srgbClr val="00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ील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किमान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९५ %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निवास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ालमत्तांन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्वतःच्य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(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घरगुत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)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ौचालयांच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ुविध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पलब्ध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र्वरित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ालमत्तांन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तरंगत्य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लोकसंख्येसाठ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ुरेश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ापरण्यायोग्य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ामुदायिक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/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ार्वजनिक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ौचालयांची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ुविध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उपलब्ध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हरातील सर्व शौचालये 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‘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ैला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िल्हेवाट प्रणाली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’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शी 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(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disposal</a:t>
                      </a: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system) </a:t>
                      </a:r>
                      <a:r>
                        <a:rPr lang="hi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जोडलेली </a:t>
                      </a:r>
                      <a:r>
                        <a:rPr lang="en-IN" sz="1400" dirty="0" err="1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असणे</a:t>
                      </a:r>
                      <a:r>
                        <a:rPr lang="en-IN" sz="1400" dirty="0">
                          <a:solidFill>
                            <a:srgbClr val="00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buFont typeface="+mj-cs"/>
                        <a:buAutoNum type="hindiNumParenR"/>
                      </a:pP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र्व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hi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मै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ला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इतर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ांडपाण्याचे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–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ेप्टिक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टाक्यांतील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दुषित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ाणी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याचे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नियमित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ुरक्षित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संकलन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,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वाहतूक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व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प्रक्रिया</a:t>
                      </a:r>
                      <a:r>
                        <a:rPr lang="en-IN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 </a:t>
                      </a:r>
                      <a:r>
                        <a:rPr lang="en-IN" sz="1400" b="1" dirty="0" err="1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होणे</a:t>
                      </a:r>
                      <a:r>
                        <a:rPr lang="en-US" sz="1400" b="1" dirty="0">
                          <a:solidFill>
                            <a:srgbClr val="FF0000"/>
                          </a:solidFill>
                          <a:effectLst/>
                          <a:latin typeface="Arial Unicode MS" panose="020B0604020202020204" pitchFamily="34" charset="-128"/>
                          <a:ea typeface="Arial Unicode MS" panose="020B0604020202020204" pitchFamily="34" charset="-128"/>
                          <a:cs typeface="Arial Unicode MS" panose="020B0604020202020204" pitchFamily="34" charset="-128"/>
                        </a:rPr>
                        <a:t>.</a:t>
                      </a:r>
                      <a:endParaRPr lang="en-IN" sz="1400" b="1" dirty="0">
                        <a:solidFill>
                          <a:srgbClr val="FF0000"/>
                        </a:solidFill>
                        <a:effectLst/>
                        <a:latin typeface="Arial Unicode MS" panose="020B0604020202020204" pitchFamily="34" charset="-128"/>
                        <a:ea typeface="Arial Unicode MS" panose="020B0604020202020204" pitchFamily="34" charset="-128"/>
                        <a:cs typeface="Arial Unicode MS" panose="020B0604020202020204" pitchFamily="34" charset="-128"/>
                      </a:endParaRPr>
                    </a:p>
                  </a:txBody>
                  <a:tcPr marL="68580" marR="68580" marT="9525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08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352800"/>
            <a:ext cx="9144000" cy="4686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Rectangle 7"/>
          <p:cNvSpPr/>
          <p:nvPr/>
        </p:nvSpPr>
        <p:spPr>
          <a:xfrm>
            <a:off x="0" y="3957917"/>
            <a:ext cx="9144000" cy="4686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/>
          <p:cNvSpPr/>
          <p:nvPr/>
        </p:nvSpPr>
        <p:spPr>
          <a:xfrm>
            <a:off x="0" y="4572000"/>
            <a:ext cx="9144000" cy="4686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/>
          <p:cNvSpPr/>
          <p:nvPr/>
        </p:nvSpPr>
        <p:spPr>
          <a:xfrm>
            <a:off x="0" y="5198292"/>
            <a:ext cx="9144000" cy="4686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0" y="1225689"/>
            <a:ext cx="9144000" cy="46864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" name="TextBox 3"/>
          <p:cNvSpPr txBox="1"/>
          <p:nvPr/>
        </p:nvSpPr>
        <p:spPr>
          <a:xfrm>
            <a:off x="336176" y="1225689"/>
            <a:ext cx="8807824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प्पा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१ :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ागरी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थानिक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ंस्थांकडून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घड्यावरील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विधीमुक्त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होण्याची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वयंघोषणा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en-IN" sz="2000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en-IN" sz="20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घड्यावरील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विधी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ुक्त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झाल्याची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वयंघोषणा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रणारे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त्र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र्वसाधारण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भेच्या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ंजूरीचा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ंबंधित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ठराव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हे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यश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ाध्य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रण्यासाठी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ेलेले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यत्न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व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े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िकवून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ठेवण्यासाठीचे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धोरण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मूद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रणारा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२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े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४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ानी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dirty="0" err="1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हवाल</a:t>
            </a:r>
            <a:r>
              <a:rPr lang="en-IN" sz="20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IN" sz="20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प्पा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२ :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जिल्हाधिकार्‍यांमार्फत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माणीकरण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  <a:endParaRPr lang="en-IN" sz="2000" dirty="0" smtClean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0"/>
            <a:endParaRPr lang="en-IN" sz="20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0">
              <a:spcAft>
                <a:spcPts val="1200"/>
              </a:spcAft>
            </a:pP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प्पा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३ :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राज्यस्तरीय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मितीमार्फत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माणीकरण</a:t>
            </a:r>
            <a:r>
              <a:rPr lang="mr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mr-IN" sz="2000" b="1" dirty="0" smtClean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0"/>
            <a:endParaRPr lang="mr-IN" sz="12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r>
              <a:rPr lang="en-IN" sz="20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प्पा</a:t>
            </a:r>
            <a:r>
              <a:rPr lang="en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४</a:t>
            </a:r>
            <a:r>
              <a:rPr lang="en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माणित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ांचा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ुरस्कार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व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ांची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यादी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ेंद्र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रकारकडे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ादर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mr-IN" sz="2000" b="1" dirty="0" smtClean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endParaRPr lang="mr-IN" sz="2000" b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spcAft>
                <a:spcPts val="1200"/>
              </a:spcAft>
            </a:pP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टप्पा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५ </a:t>
            </a:r>
            <a:r>
              <a:rPr lang="en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्रमाणपत्र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हाल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ेलेल्या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IN" sz="2000" b="1" dirty="0" err="1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ांचे</a:t>
            </a:r>
            <a:r>
              <a:rPr lang="en-IN" sz="2000" b="1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ेळोवेळी </a:t>
            </a:r>
            <a:r>
              <a:rPr lang="en-IN" sz="2000" b="1" dirty="0" err="1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ुनःप्रमाणीकरण</a:t>
            </a:r>
            <a:r>
              <a:rPr lang="en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0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mr-IN" sz="20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 ODF बनविण्याइतकेच ते टिकवून ठेवणे महत्त्वाचे </a:t>
            </a:r>
            <a:endParaRPr lang="en-IN" sz="20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mr-IN" sz="20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दिलेला पुरस्कार रद्द करण्याचे हक्क शासनाकडे </a:t>
            </a:r>
            <a:endParaRPr lang="en-IN" sz="20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416859"/>
            <a:ext cx="9144000" cy="524435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mr-IN" sz="2400" b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DF शहरांचे प्रमाणीकरण व पुरस्कार </a:t>
            </a:r>
          </a:p>
        </p:txBody>
      </p:sp>
    </p:spTree>
    <p:extLst>
      <p:ext uri="{BB962C8B-B14F-4D97-AF65-F5344CB8AC3E}">
        <p14:creationId xmlns:p14="http://schemas.microsoft.com/office/powerpoint/2010/main" val="3397299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537883"/>
            <a:ext cx="9144000" cy="524435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mr-IN" sz="28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ODF शहर साध्य करण्यासाठी तीन ठळक मुद्दे </a:t>
            </a:r>
            <a:endParaRPr lang="en-IN" sz="2800" b="1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8769" y="1264023"/>
            <a:ext cx="8135471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AutoNum type="hindiNumParenR"/>
            </a:pPr>
            <a:r>
              <a:rPr lang="mr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नवीन शौचालयांची तरतूद / अर्ज प्रक्रिया – शहरातील समस्या दूर होण्यासाठी योग्य असे शौचालयाचे पर्याय निवडणे, शौचालयांचे बांधकाम, अचूक बांधकामासाठी संनियंत्रण, नोंदी ठेवणे व वेळोवेळी आवश्यक माहिती portal वर upload  करणे </a:t>
            </a:r>
          </a:p>
          <a:p>
            <a:pPr marL="457200" indent="-457200">
              <a:buAutoNum type="hindiNumParenR"/>
            </a:pPr>
            <a:endParaRPr lang="mr-IN" sz="24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457200" indent="-457200">
              <a:buAutoNum type="hindiNumParenR"/>
            </a:pPr>
            <a:r>
              <a:rPr lang="mr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हरातील OD spots शोधणे व उघड्यावरील शौचाची प्रथा नष्ट करणे – जनजागृती </a:t>
            </a:r>
          </a:p>
          <a:p>
            <a:pPr marL="457200" indent="-93663">
              <a:buFont typeface="Arial" panose="020B0604020202020204" pitchFamily="34" charset="0"/>
              <a:buChar char="•"/>
            </a:pPr>
            <a:r>
              <a:rPr lang="mr-IN" sz="24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Good Morning पथक, शिक्षा/ दंड आकारणे, गांधीगिरी, नावे- छायाचित्रे प्रदर्शित करणे, dog squad, CC TV Camera इत्यादि.</a:t>
            </a:r>
          </a:p>
          <a:p>
            <a:pPr marL="457200" indent="-93663">
              <a:buFont typeface="Arial" panose="020B0604020202020204" pitchFamily="34" charset="0"/>
              <a:buChar char="•"/>
            </a:pPr>
            <a:endParaRPr lang="mr-IN" sz="24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361950" indent="-361950"/>
            <a:r>
              <a:rPr lang="mr-IN" sz="24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३) उपलब्ध वस्ती व सार्वजनिक शौचालयांची योग्य देखभाल दुरूस्ती – गरज असल्यास संस्था नेमणे, त्यावर संनियंत्रण ठेवणे</a:t>
            </a:r>
          </a:p>
          <a:p>
            <a:endParaRPr lang="mr-IN" sz="1600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45247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76400"/>
            <a:ext cx="7620000" cy="990600"/>
          </a:xfrm>
        </p:spPr>
        <p:txBody>
          <a:bodyPr/>
          <a:lstStyle/>
          <a:p>
            <a:r>
              <a:rPr lang="mr-IN" sz="3600" dirty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भियानांतर्गत बांधली जाणारी शौचालये- निकष </a:t>
            </a:r>
          </a:p>
        </p:txBody>
      </p:sp>
    </p:spTree>
    <p:extLst>
      <p:ext uri="{BB962C8B-B14F-4D97-AF65-F5344CB8AC3E}">
        <p14:creationId xmlns:p14="http://schemas.microsoft.com/office/powerpoint/2010/main" val="28896118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537883"/>
            <a:ext cx="9144000" cy="524435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mr-IN" sz="2800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े व सेप्टिक टाक्या अचूक बांधणे अनिवार्य</a:t>
            </a:r>
            <a:endParaRPr lang="en-IN" sz="2800" b="1" dirty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3462338"/>
            <a:ext cx="9144000" cy="4572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1342185"/>
            <a:ext cx="9144000" cy="443753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1"/>
          <p:cNvSpPr>
            <a:spLocks noGrp="1"/>
          </p:cNvSpPr>
          <p:nvPr>
            <p:ph sz="quarter" idx="1"/>
          </p:nvPr>
        </p:nvSpPr>
        <p:spPr>
          <a:xfrm>
            <a:off x="612648" y="1290918"/>
            <a:ext cx="8153400" cy="5715000"/>
          </a:xfrm>
        </p:spPr>
        <p:txBody>
          <a:bodyPr>
            <a:normAutofit/>
          </a:bodyPr>
          <a:lstStyle/>
          <a:p>
            <a:r>
              <a:rPr lang="hi-IN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 बांधकाम  </a:t>
            </a:r>
            <a:endParaRPr lang="en-US" b="1" dirty="0" smtClean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/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 कुठे बांधावे ?</a:t>
            </a:r>
            <a:endParaRPr lang="en-US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/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याचा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आकार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/ आकारमान </a:t>
            </a:r>
            <a:endParaRPr lang="en-US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/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 बांधण्या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ाठीचे 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ाहित्य</a:t>
            </a:r>
            <a:endParaRPr lang="en-US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/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 बांधका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ासाठीच्या आवश्यक बाबी </a:t>
            </a:r>
          </a:p>
          <a:p>
            <a:pPr marL="685800" lvl="2" indent="0">
              <a:buNone/>
            </a:pPr>
            <a:endParaRPr lang="en-US" sz="300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20000"/>
              </a:lnSpc>
            </a:pPr>
            <a:r>
              <a:rPr lang="mr-IN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b="1" dirty="0" smtClean="0">
                <a:solidFill>
                  <a:schemeClr val="bg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 बांधकाम</a:t>
            </a:r>
            <a:endParaRPr lang="en-US" b="1" dirty="0" smtClean="0">
              <a:solidFill>
                <a:schemeClr val="bg1"/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>
              <a:lnSpc>
                <a:spcPct val="120000"/>
              </a:lnSpc>
            </a:pP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 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ुठे बांधावी </a:t>
            </a:r>
            <a:r>
              <a:rPr lang="mr-IN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?</a:t>
            </a:r>
            <a:endParaRPr lang="en-US" i="1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>
              <a:lnSpc>
                <a:spcPct val="120000"/>
              </a:lnSpc>
            </a:pP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चा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आकार</a:t>
            </a:r>
            <a:r>
              <a:rPr lang="mr-IN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/ आकारमान </a:t>
            </a:r>
            <a:endParaRPr lang="en-US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>
              <a:lnSpc>
                <a:spcPct val="120000"/>
              </a:lnSpc>
            </a:pP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 </a:t>
            </a:r>
            <a:r>
              <a:rPr lang="hi-IN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ांधण्या</a:t>
            </a:r>
            <a:r>
              <a:rPr lang="mr-IN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ाठीचे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साहित्य</a:t>
            </a:r>
            <a:endParaRPr lang="en-US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2">
              <a:lnSpc>
                <a:spcPct val="120000"/>
              </a:lnSpc>
            </a:pP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 </a:t>
            </a:r>
            <a:r>
              <a:rPr lang="hi-IN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बांधका</a:t>
            </a:r>
            <a:r>
              <a:rPr lang="mr-IN" i="1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मासाठीच्या इतर आवश्यक बाबी </a:t>
            </a:r>
            <a:endParaRPr lang="en-US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3">
              <a:lnSpc>
                <a:spcPct val="120000"/>
              </a:lnSpc>
            </a:pP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ेप्टिक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टाकी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चा तळ</a:t>
            </a:r>
          </a:p>
          <a:p>
            <a:pPr lvl="3">
              <a:lnSpc>
                <a:spcPct val="120000"/>
              </a:lnSpc>
            </a:pP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अंतर्गम  (inlet) व निर्गम (outlet)</a:t>
            </a:r>
            <a:endParaRPr lang="en-US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3">
              <a:lnSpc>
                <a:spcPct val="120000"/>
              </a:lnSpc>
            </a:pP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व्हेंटीलेशन 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पाईप</a:t>
            </a:r>
            <a:r>
              <a:rPr lang="mr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ची </a:t>
            </a:r>
            <a:r>
              <a:rPr lang="hi-IN" i="1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रतूद</a:t>
            </a:r>
            <a:endParaRPr lang="mr-IN" i="1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3"/>
            <a:endParaRPr lang="en-US" dirty="0" smtClean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62315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2" algn="l" rtl="0">
              <a:spcBef>
                <a:spcPct val="0"/>
              </a:spcBef>
            </a:pPr>
            <a:r>
              <a:rPr lang="mr-IN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शौचालय कुठे बांधावे ?</a:t>
            </a:r>
            <a:r>
              <a:rPr lang="en-US" sz="3200" b="1" kern="1200" dirty="0">
                <a:solidFill>
                  <a:schemeClr val="tx2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. . .</a:t>
            </a:r>
          </a:p>
        </p:txBody>
      </p:sp>
      <p:sp>
        <p:nvSpPr>
          <p:cNvPr id="96" name="Flowchart: Manual Operation 95"/>
          <p:cNvSpPr/>
          <p:nvPr/>
        </p:nvSpPr>
        <p:spPr>
          <a:xfrm rot="16200000">
            <a:off x="4637619" y="4655979"/>
            <a:ext cx="1752600" cy="929603"/>
          </a:xfrm>
          <a:prstGeom prst="flowChartManualOperation">
            <a:avLst/>
          </a:prstGeom>
          <a:gradFill>
            <a:gsLst>
              <a:gs pos="0">
                <a:sysClr val="window" lastClr="FFFFFF">
                  <a:lumMod val="65000"/>
                  <a:alpha val="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ysClr val="window" lastClr="FFFFFF">
                  <a:lumMod val="50000"/>
                </a:sysClr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304800" y="990600"/>
            <a:ext cx="4164539" cy="5181600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िमान ए</a:t>
            </a:r>
            <a:r>
              <a:rPr lang="mr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का</a:t>
            </a: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भिं</a:t>
            </a:r>
            <a:r>
              <a:rPr lang="mr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ीस खुल्या हवेमध्ये खिडकी असावी 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98" name="Group 97"/>
          <p:cNvGrpSpPr/>
          <p:nvPr/>
        </p:nvGrpSpPr>
        <p:grpSpPr>
          <a:xfrm>
            <a:off x="730590" y="1571693"/>
            <a:ext cx="2634493" cy="1554933"/>
            <a:chOff x="299847" y="1647849"/>
            <a:chExt cx="1804486" cy="1093686"/>
          </a:xfrm>
        </p:grpSpPr>
        <p:grpSp>
          <p:nvGrpSpPr>
            <p:cNvPr id="99" name="Group 98"/>
            <p:cNvGrpSpPr/>
            <p:nvPr/>
          </p:nvGrpSpPr>
          <p:grpSpPr>
            <a:xfrm>
              <a:off x="631592" y="1647849"/>
              <a:ext cx="1472741" cy="950476"/>
              <a:chOff x="641199" y="2927786"/>
              <a:chExt cx="1472741" cy="950476"/>
            </a:xfrm>
          </p:grpSpPr>
          <p:pic>
            <p:nvPicPr>
              <p:cNvPr id="101" name="Picture 2" descr="http://sr.photos3.fotosearch.com/bthumb/ULY/ULY077/u27839515.jpg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8759" t="6274" r="9124" b="56078"/>
              <a:stretch/>
            </p:blipFill>
            <p:spPr bwMode="auto">
              <a:xfrm rot="5400000">
                <a:off x="1326975" y="3609702"/>
                <a:ext cx="293164" cy="1776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02" name="Group 101"/>
              <p:cNvGrpSpPr/>
              <p:nvPr/>
            </p:nvGrpSpPr>
            <p:grpSpPr>
              <a:xfrm>
                <a:off x="641199" y="3062286"/>
                <a:ext cx="1472741" cy="815976"/>
                <a:chOff x="381000" y="2873374"/>
                <a:chExt cx="1472741" cy="815976"/>
              </a:xfrm>
            </p:grpSpPr>
            <p:sp>
              <p:nvSpPr>
                <p:cNvPr id="118" name="Rectangle 117"/>
                <p:cNvSpPr/>
                <p:nvPr/>
              </p:nvSpPr>
              <p:spPr>
                <a:xfrm>
                  <a:off x="1066800" y="3232150"/>
                  <a:ext cx="293119" cy="457200"/>
                </a:xfrm>
                <a:prstGeom prst="rect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9" name="Rectangle 118"/>
                <p:cNvSpPr/>
                <p:nvPr/>
              </p:nvSpPr>
              <p:spPr>
                <a:xfrm>
                  <a:off x="381000" y="2873375"/>
                  <a:ext cx="685801" cy="815975"/>
                </a:xfrm>
                <a:prstGeom prst="rect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0" name="Rectangle 119"/>
                <p:cNvSpPr/>
                <p:nvPr/>
              </p:nvSpPr>
              <p:spPr>
                <a:xfrm>
                  <a:off x="1066801" y="2873374"/>
                  <a:ext cx="786940" cy="358775"/>
                </a:xfrm>
                <a:prstGeom prst="rect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21" name="Rectangle 120"/>
                <p:cNvSpPr/>
                <p:nvPr/>
              </p:nvSpPr>
              <p:spPr>
                <a:xfrm>
                  <a:off x="1359919" y="3232149"/>
                  <a:ext cx="493822" cy="457201"/>
                </a:xfrm>
                <a:prstGeom prst="rect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3" name="Group 102"/>
              <p:cNvGrpSpPr/>
              <p:nvPr/>
            </p:nvGrpSpPr>
            <p:grpSpPr>
              <a:xfrm flipV="1">
                <a:off x="1733133" y="3419475"/>
                <a:ext cx="267792" cy="132482"/>
                <a:chOff x="1720470" y="2895600"/>
                <a:chExt cx="267792" cy="166686"/>
              </a:xfrm>
            </p:grpSpPr>
            <p:sp>
              <p:nvSpPr>
                <p:cNvPr id="116" name="Right Triangle 116"/>
                <p:cNvSpPr/>
                <p:nvPr/>
              </p:nvSpPr>
              <p:spPr>
                <a:xfrm>
                  <a:off x="1720470" y="2895600"/>
                  <a:ext cx="133271" cy="166686"/>
                </a:xfrm>
                <a:custGeom>
                  <a:avLst/>
                  <a:gdLst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271" h="166686">
                      <a:moveTo>
                        <a:pt x="0" y="166686"/>
                      </a:moveTo>
                      <a:lnTo>
                        <a:pt x="0" y="0"/>
                      </a:lnTo>
                      <a:cubicBezTo>
                        <a:pt x="60311" y="2382"/>
                        <a:pt x="130889" y="69849"/>
                        <a:pt x="133271" y="166686"/>
                      </a:cubicBezTo>
                      <a:lnTo>
                        <a:pt x="0" y="166686"/>
                      </a:lnTo>
                      <a:close/>
                    </a:path>
                  </a:pathLst>
                </a:custGeom>
                <a:noFill/>
                <a:ln w="635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7" name="Right Triangle 116"/>
                <p:cNvSpPr/>
                <p:nvPr/>
              </p:nvSpPr>
              <p:spPr>
                <a:xfrm flipH="1">
                  <a:off x="1854991" y="2895600"/>
                  <a:ext cx="133271" cy="166686"/>
                </a:xfrm>
                <a:custGeom>
                  <a:avLst/>
                  <a:gdLst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271" h="166686">
                      <a:moveTo>
                        <a:pt x="0" y="166686"/>
                      </a:moveTo>
                      <a:lnTo>
                        <a:pt x="0" y="0"/>
                      </a:lnTo>
                      <a:cubicBezTo>
                        <a:pt x="60311" y="2382"/>
                        <a:pt x="130889" y="69849"/>
                        <a:pt x="133271" y="166686"/>
                      </a:cubicBezTo>
                      <a:lnTo>
                        <a:pt x="0" y="166686"/>
                      </a:lnTo>
                      <a:close/>
                    </a:path>
                  </a:pathLst>
                </a:custGeom>
                <a:noFill/>
                <a:ln w="635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4" name="Right Triangle 116"/>
              <p:cNvSpPr/>
              <p:nvPr/>
            </p:nvSpPr>
            <p:spPr>
              <a:xfrm flipV="1">
                <a:off x="1358900" y="3419475"/>
                <a:ext cx="173116" cy="152400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105" name="Straight Connector 104"/>
              <p:cNvCxnSpPr>
                <a:stCxn id="114" idx="0"/>
                <a:endCxn id="115" idx="0"/>
              </p:cNvCxnSpPr>
              <p:nvPr/>
            </p:nvCxnSpPr>
            <p:spPr>
              <a:xfrm>
                <a:off x="1720470" y="3060268"/>
                <a:ext cx="267792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</p:cxnSp>
          <p:grpSp>
            <p:nvGrpSpPr>
              <p:cNvPr id="106" name="Group 105"/>
              <p:cNvGrpSpPr/>
              <p:nvPr/>
            </p:nvGrpSpPr>
            <p:grpSpPr>
              <a:xfrm>
                <a:off x="1720470" y="2927786"/>
                <a:ext cx="267792" cy="132482"/>
                <a:chOff x="1720470" y="2895600"/>
                <a:chExt cx="267792" cy="166686"/>
              </a:xfrm>
            </p:grpSpPr>
            <p:sp>
              <p:nvSpPr>
                <p:cNvPr id="114" name="Right Triangle 116"/>
                <p:cNvSpPr/>
                <p:nvPr/>
              </p:nvSpPr>
              <p:spPr>
                <a:xfrm>
                  <a:off x="1720470" y="2895600"/>
                  <a:ext cx="133271" cy="166686"/>
                </a:xfrm>
                <a:custGeom>
                  <a:avLst/>
                  <a:gdLst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271" h="166686">
                      <a:moveTo>
                        <a:pt x="0" y="166686"/>
                      </a:moveTo>
                      <a:lnTo>
                        <a:pt x="0" y="0"/>
                      </a:lnTo>
                      <a:cubicBezTo>
                        <a:pt x="60311" y="2382"/>
                        <a:pt x="130889" y="69849"/>
                        <a:pt x="133271" y="166686"/>
                      </a:cubicBezTo>
                      <a:lnTo>
                        <a:pt x="0" y="166686"/>
                      </a:lnTo>
                      <a:close/>
                    </a:path>
                  </a:pathLst>
                </a:custGeom>
                <a:noFill/>
                <a:ln w="635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Right Triangle 116"/>
                <p:cNvSpPr/>
                <p:nvPr/>
              </p:nvSpPr>
              <p:spPr>
                <a:xfrm flipH="1">
                  <a:off x="1854991" y="2895600"/>
                  <a:ext cx="133271" cy="166686"/>
                </a:xfrm>
                <a:custGeom>
                  <a:avLst/>
                  <a:gdLst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271" h="166686">
                      <a:moveTo>
                        <a:pt x="0" y="166686"/>
                      </a:moveTo>
                      <a:lnTo>
                        <a:pt x="0" y="0"/>
                      </a:lnTo>
                      <a:cubicBezTo>
                        <a:pt x="60311" y="2382"/>
                        <a:pt x="130889" y="69849"/>
                        <a:pt x="133271" y="166686"/>
                      </a:cubicBezTo>
                      <a:lnTo>
                        <a:pt x="0" y="166686"/>
                      </a:lnTo>
                      <a:close/>
                    </a:path>
                  </a:pathLst>
                </a:custGeom>
                <a:noFill/>
                <a:ln w="635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07" name="Straight Connector 106"/>
              <p:cNvCxnSpPr>
                <a:stCxn id="116" idx="0"/>
                <a:endCxn id="117" idx="0"/>
              </p:cNvCxnSpPr>
              <p:nvPr/>
            </p:nvCxnSpPr>
            <p:spPr>
              <a:xfrm>
                <a:off x="1733133" y="3419475"/>
                <a:ext cx="267792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</p:cxnSp>
          <p:cxnSp>
            <p:nvCxnSpPr>
              <p:cNvPr id="108" name="Straight Connector 107"/>
              <p:cNvCxnSpPr>
                <a:stCxn id="104" idx="0"/>
                <a:endCxn id="104" idx="2"/>
              </p:cNvCxnSpPr>
              <p:nvPr/>
            </p:nvCxnSpPr>
            <p:spPr>
              <a:xfrm>
                <a:off x="1358900" y="3419475"/>
                <a:ext cx="173116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</p:cxnSp>
          <p:cxnSp>
            <p:nvCxnSpPr>
              <p:cNvPr id="109" name="Straight Connector 108"/>
              <p:cNvCxnSpPr>
                <a:stCxn id="113" idx="0"/>
                <a:endCxn id="112" idx="0"/>
              </p:cNvCxnSpPr>
              <p:nvPr/>
            </p:nvCxnSpPr>
            <p:spPr>
              <a:xfrm>
                <a:off x="1322860" y="3124200"/>
                <a:ext cx="0" cy="267792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</p:cxnSp>
          <p:grpSp>
            <p:nvGrpSpPr>
              <p:cNvPr id="110" name="Group 109"/>
              <p:cNvGrpSpPr/>
              <p:nvPr/>
            </p:nvGrpSpPr>
            <p:grpSpPr>
              <a:xfrm rot="16200000">
                <a:off x="1122722" y="3191855"/>
                <a:ext cx="267792" cy="132482"/>
                <a:chOff x="1720470" y="2895600"/>
                <a:chExt cx="267792" cy="166686"/>
              </a:xfrm>
            </p:grpSpPr>
            <p:sp>
              <p:nvSpPr>
                <p:cNvPr id="112" name="Right Triangle 116"/>
                <p:cNvSpPr/>
                <p:nvPr/>
              </p:nvSpPr>
              <p:spPr>
                <a:xfrm>
                  <a:off x="1720470" y="2895600"/>
                  <a:ext cx="133271" cy="166686"/>
                </a:xfrm>
                <a:custGeom>
                  <a:avLst/>
                  <a:gdLst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271" h="166686">
                      <a:moveTo>
                        <a:pt x="0" y="166686"/>
                      </a:moveTo>
                      <a:lnTo>
                        <a:pt x="0" y="0"/>
                      </a:lnTo>
                      <a:cubicBezTo>
                        <a:pt x="60311" y="2382"/>
                        <a:pt x="130889" y="69849"/>
                        <a:pt x="133271" y="166686"/>
                      </a:cubicBezTo>
                      <a:lnTo>
                        <a:pt x="0" y="166686"/>
                      </a:lnTo>
                      <a:close/>
                    </a:path>
                  </a:pathLst>
                </a:custGeom>
                <a:noFill/>
                <a:ln w="635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113" name="Right Triangle 116"/>
                <p:cNvSpPr/>
                <p:nvPr/>
              </p:nvSpPr>
              <p:spPr>
                <a:xfrm flipH="1">
                  <a:off x="1854991" y="2895600"/>
                  <a:ext cx="133271" cy="166686"/>
                </a:xfrm>
                <a:custGeom>
                  <a:avLst/>
                  <a:gdLst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  <a:gd name="connsiteX0" fmla="*/ 0 w 133271"/>
                    <a:gd name="connsiteY0" fmla="*/ 166686 h 166686"/>
                    <a:gd name="connsiteX1" fmla="*/ 0 w 133271"/>
                    <a:gd name="connsiteY1" fmla="*/ 0 h 166686"/>
                    <a:gd name="connsiteX2" fmla="*/ 133271 w 133271"/>
                    <a:gd name="connsiteY2" fmla="*/ 166686 h 166686"/>
                    <a:gd name="connsiteX3" fmla="*/ 0 w 133271"/>
                    <a:gd name="connsiteY3" fmla="*/ 166686 h 166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3271" h="166686">
                      <a:moveTo>
                        <a:pt x="0" y="166686"/>
                      </a:moveTo>
                      <a:lnTo>
                        <a:pt x="0" y="0"/>
                      </a:lnTo>
                      <a:cubicBezTo>
                        <a:pt x="60311" y="2382"/>
                        <a:pt x="130889" y="69849"/>
                        <a:pt x="133271" y="166686"/>
                      </a:cubicBezTo>
                      <a:lnTo>
                        <a:pt x="0" y="166686"/>
                      </a:lnTo>
                      <a:close/>
                    </a:path>
                  </a:pathLst>
                </a:custGeom>
                <a:noFill/>
                <a:ln w="635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cxnSp>
            <p:nvCxnSpPr>
              <p:cNvPr id="111" name="Straight Connector 110"/>
              <p:cNvCxnSpPr/>
              <p:nvPr/>
            </p:nvCxnSpPr>
            <p:spPr>
              <a:xfrm>
                <a:off x="1429867" y="3878262"/>
                <a:ext cx="91440" cy="0"/>
              </a:xfrm>
              <a:prstGeom prst="line">
                <a:avLst/>
              </a:prstGeom>
              <a:noFill/>
              <a:ln w="28575" cap="flat" cmpd="sng" algn="ctr">
                <a:solidFill>
                  <a:sysClr val="window" lastClr="FFFFFF">
                    <a:lumMod val="65000"/>
                  </a:sysClr>
                </a:solidFill>
                <a:prstDash val="solid"/>
              </a:ln>
              <a:effectLst/>
            </p:spPr>
          </p:cxnSp>
        </p:grpSp>
        <p:sp>
          <p:nvSpPr>
            <p:cNvPr id="100" name="L-Shape 99"/>
            <p:cNvSpPr>
              <a:spLocks noChangeAspect="1"/>
            </p:cNvSpPr>
            <p:nvPr/>
          </p:nvSpPr>
          <p:spPr>
            <a:xfrm rot="19279317">
              <a:off x="299847" y="2388833"/>
              <a:ext cx="743512" cy="352702"/>
            </a:xfrm>
            <a:prstGeom prst="corner">
              <a:avLst>
                <a:gd name="adj1" fmla="val 23479"/>
                <a:gd name="adj2" fmla="val 27803"/>
              </a:avLst>
            </a:prstGeom>
            <a:solidFill>
              <a:srgbClr val="00B05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22" name="Group 121"/>
          <p:cNvGrpSpPr/>
          <p:nvPr/>
        </p:nvGrpSpPr>
        <p:grpSpPr>
          <a:xfrm>
            <a:off x="1130873" y="3536739"/>
            <a:ext cx="2382840" cy="2178261"/>
            <a:chOff x="2458435" y="2927786"/>
            <a:chExt cx="1472742" cy="1358463"/>
          </a:xfrm>
        </p:grpSpPr>
        <p:pic>
          <p:nvPicPr>
            <p:cNvPr id="123" name="Picture 2" descr="http://sr.photos3.fotosearch.com/bthumb/ULY/ULY077/u27839515.jpg"/>
            <p:cNvPicPr>
              <a:picLocks noChangeAspect="1" noChangeArrowheads="1"/>
            </p:cNvPicPr>
            <p:nvPr/>
          </p:nvPicPr>
          <p:blipFill rotWithShape="1">
            <a:blip r:embed="rId2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759" t="6274" r="9124" b="56078"/>
            <a:stretch/>
          </p:blipFill>
          <p:spPr bwMode="auto">
            <a:xfrm rot="5400000">
              <a:off x="3144211" y="3609702"/>
              <a:ext cx="293164" cy="177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24" name="Group 123"/>
            <p:cNvGrpSpPr/>
            <p:nvPr/>
          </p:nvGrpSpPr>
          <p:grpSpPr>
            <a:xfrm>
              <a:off x="2458435" y="3062286"/>
              <a:ext cx="1472741" cy="815976"/>
              <a:chOff x="381000" y="2873374"/>
              <a:chExt cx="1472741" cy="815976"/>
            </a:xfrm>
          </p:grpSpPr>
          <p:sp>
            <p:nvSpPr>
              <p:cNvPr id="149" name="Rectangle 148"/>
              <p:cNvSpPr/>
              <p:nvPr/>
            </p:nvSpPr>
            <p:spPr>
              <a:xfrm>
                <a:off x="1066800" y="3232150"/>
                <a:ext cx="293119" cy="457200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0" name="Rectangle 149"/>
              <p:cNvSpPr/>
              <p:nvPr/>
            </p:nvSpPr>
            <p:spPr>
              <a:xfrm>
                <a:off x="381000" y="2873375"/>
                <a:ext cx="685801" cy="815975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1" name="Rectangle 150"/>
              <p:cNvSpPr/>
              <p:nvPr/>
            </p:nvSpPr>
            <p:spPr>
              <a:xfrm>
                <a:off x="1066801" y="2873374"/>
                <a:ext cx="786940" cy="358775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2" name="Rectangle 151"/>
              <p:cNvSpPr/>
              <p:nvPr/>
            </p:nvSpPr>
            <p:spPr>
              <a:xfrm>
                <a:off x="1359919" y="3232149"/>
                <a:ext cx="493822" cy="457201"/>
              </a:xfrm>
              <a:prstGeom prst="rect">
                <a:avLst/>
              </a:prstGeom>
              <a:noFill/>
              <a:ln w="2540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25" name="Group 124"/>
            <p:cNvGrpSpPr/>
            <p:nvPr/>
          </p:nvGrpSpPr>
          <p:grpSpPr>
            <a:xfrm flipV="1">
              <a:off x="3550369" y="3419475"/>
              <a:ext cx="267792" cy="132482"/>
              <a:chOff x="1720470" y="2895600"/>
              <a:chExt cx="267792" cy="166686"/>
            </a:xfrm>
          </p:grpSpPr>
          <p:sp>
            <p:nvSpPr>
              <p:cNvPr id="147" name="Right Triangle 116"/>
              <p:cNvSpPr/>
              <p:nvPr/>
            </p:nvSpPr>
            <p:spPr>
              <a:xfrm>
                <a:off x="1720470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8" name="Right Triangle 116"/>
              <p:cNvSpPr/>
              <p:nvPr/>
            </p:nvSpPr>
            <p:spPr>
              <a:xfrm flipH="1">
                <a:off x="1854991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26" name="Right Triangle 116"/>
            <p:cNvSpPr/>
            <p:nvPr/>
          </p:nvSpPr>
          <p:spPr>
            <a:xfrm flipV="1">
              <a:off x="3176136" y="3419475"/>
              <a:ext cx="173116" cy="152400"/>
            </a:xfrm>
            <a:custGeom>
              <a:avLst/>
              <a:gdLst>
                <a:gd name="connsiteX0" fmla="*/ 0 w 133271"/>
                <a:gd name="connsiteY0" fmla="*/ 166686 h 166686"/>
                <a:gd name="connsiteX1" fmla="*/ 0 w 133271"/>
                <a:gd name="connsiteY1" fmla="*/ 0 h 166686"/>
                <a:gd name="connsiteX2" fmla="*/ 133271 w 133271"/>
                <a:gd name="connsiteY2" fmla="*/ 166686 h 166686"/>
                <a:gd name="connsiteX3" fmla="*/ 0 w 133271"/>
                <a:gd name="connsiteY3" fmla="*/ 166686 h 166686"/>
                <a:gd name="connsiteX0" fmla="*/ 0 w 133271"/>
                <a:gd name="connsiteY0" fmla="*/ 166686 h 166686"/>
                <a:gd name="connsiteX1" fmla="*/ 0 w 133271"/>
                <a:gd name="connsiteY1" fmla="*/ 0 h 166686"/>
                <a:gd name="connsiteX2" fmla="*/ 133271 w 133271"/>
                <a:gd name="connsiteY2" fmla="*/ 166686 h 166686"/>
                <a:gd name="connsiteX3" fmla="*/ 0 w 133271"/>
                <a:gd name="connsiteY3" fmla="*/ 166686 h 166686"/>
                <a:gd name="connsiteX0" fmla="*/ 0 w 133271"/>
                <a:gd name="connsiteY0" fmla="*/ 166686 h 166686"/>
                <a:gd name="connsiteX1" fmla="*/ 0 w 133271"/>
                <a:gd name="connsiteY1" fmla="*/ 0 h 166686"/>
                <a:gd name="connsiteX2" fmla="*/ 133271 w 133271"/>
                <a:gd name="connsiteY2" fmla="*/ 166686 h 166686"/>
                <a:gd name="connsiteX3" fmla="*/ 0 w 133271"/>
                <a:gd name="connsiteY3" fmla="*/ 166686 h 166686"/>
                <a:gd name="connsiteX0" fmla="*/ 0 w 133271"/>
                <a:gd name="connsiteY0" fmla="*/ 166686 h 166686"/>
                <a:gd name="connsiteX1" fmla="*/ 0 w 133271"/>
                <a:gd name="connsiteY1" fmla="*/ 0 h 166686"/>
                <a:gd name="connsiteX2" fmla="*/ 133271 w 133271"/>
                <a:gd name="connsiteY2" fmla="*/ 166686 h 166686"/>
                <a:gd name="connsiteX3" fmla="*/ 0 w 133271"/>
                <a:gd name="connsiteY3" fmla="*/ 166686 h 166686"/>
                <a:gd name="connsiteX0" fmla="*/ 0 w 133271"/>
                <a:gd name="connsiteY0" fmla="*/ 166686 h 166686"/>
                <a:gd name="connsiteX1" fmla="*/ 0 w 133271"/>
                <a:gd name="connsiteY1" fmla="*/ 0 h 166686"/>
                <a:gd name="connsiteX2" fmla="*/ 133271 w 133271"/>
                <a:gd name="connsiteY2" fmla="*/ 166686 h 166686"/>
                <a:gd name="connsiteX3" fmla="*/ 0 w 133271"/>
                <a:gd name="connsiteY3" fmla="*/ 166686 h 166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271" h="166686">
                  <a:moveTo>
                    <a:pt x="0" y="166686"/>
                  </a:moveTo>
                  <a:lnTo>
                    <a:pt x="0" y="0"/>
                  </a:lnTo>
                  <a:cubicBezTo>
                    <a:pt x="60311" y="2382"/>
                    <a:pt x="130889" y="69849"/>
                    <a:pt x="133271" y="166686"/>
                  </a:cubicBezTo>
                  <a:lnTo>
                    <a:pt x="0" y="166686"/>
                  </a:lnTo>
                  <a:close/>
                </a:path>
              </a:pathLst>
            </a:custGeom>
            <a:noFill/>
            <a:ln w="63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7" name="Straight Connector 126"/>
            <p:cNvCxnSpPr>
              <a:stCxn id="145" idx="0"/>
              <a:endCxn id="146" idx="0"/>
            </p:cNvCxnSpPr>
            <p:nvPr/>
          </p:nvCxnSpPr>
          <p:spPr>
            <a:xfrm>
              <a:off x="3537706" y="3060268"/>
              <a:ext cx="267792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grpSp>
          <p:nvGrpSpPr>
            <p:cNvPr id="128" name="Group 127"/>
            <p:cNvGrpSpPr/>
            <p:nvPr/>
          </p:nvGrpSpPr>
          <p:grpSpPr>
            <a:xfrm>
              <a:off x="3537706" y="2927786"/>
              <a:ext cx="267792" cy="132482"/>
              <a:chOff x="1720470" y="2895600"/>
              <a:chExt cx="267792" cy="166686"/>
            </a:xfrm>
          </p:grpSpPr>
          <p:sp>
            <p:nvSpPr>
              <p:cNvPr id="145" name="Right Triangle 116"/>
              <p:cNvSpPr/>
              <p:nvPr/>
            </p:nvSpPr>
            <p:spPr>
              <a:xfrm>
                <a:off x="1720470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6" name="Right Triangle 116"/>
              <p:cNvSpPr/>
              <p:nvPr/>
            </p:nvSpPr>
            <p:spPr>
              <a:xfrm flipH="1">
                <a:off x="1854991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129" name="Straight Connector 128"/>
            <p:cNvCxnSpPr>
              <a:stCxn id="147" idx="0"/>
              <a:endCxn id="148" idx="0"/>
            </p:cNvCxnSpPr>
            <p:nvPr/>
          </p:nvCxnSpPr>
          <p:spPr>
            <a:xfrm>
              <a:off x="3550369" y="3419475"/>
              <a:ext cx="267792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30" name="Straight Connector 129"/>
            <p:cNvCxnSpPr>
              <a:stCxn id="126" idx="0"/>
              <a:endCxn id="126" idx="2"/>
            </p:cNvCxnSpPr>
            <p:nvPr/>
          </p:nvCxnSpPr>
          <p:spPr>
            <a:xfrm>
              <a:off x="3176136" y="3419475"/>
              <a:ext cx="173116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cxnSp>
          <p:nvCxnSpPr>
            <p:cNvPr id="131" name="Straight Connector 130"/>
            <p:cNvCxnSpPr>
              <a:stCxn id="144" idx="0"/>
              <a:endCxn id="143" idx="0"/>
            </p:cNvCxnSpPr>
            <p:nvPr/>
          </p:nvCxnSpPr>
          <p:spPr>
            <a:xfrm>
              <a:off x="3140096" y="3124200"/>
              <a:ext cx="0" cy="267792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grpSp>
          <p:nvGrpSpPr>
            <p:cNvPr id="132" name="Group 131"/>
            <p:cNvGrpSpPr/>
            <p:nvPr/>
          </p:nvGrpSpPr>
          <p:grpSpPr>
            <a:xfrm rot="16200000">
              <a:off x="2939958" y="3191855"/>
              <a:ext cx="267792" cy="132482"/>
              <a:chOff x="1720470" y="2895600"/>
              <a:chExt cx="267792" cy="166686"/>
            </a:xfrm>
          </p:grpSpPr>
          <p:sp>
            <p:nvSpPr>
              <p:cNvPr id="143" name="Right Triangle 116"/>
              <p:cNvSpPr/>
              <p:nvPr/>
            </p:nvSpPr>
            <p:spPr>
              <a:xfrm>
                <a:off x="1720470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4" name="Right Triangle 116"/>
              <p:cNvSpPr/>
              <p:nvPr/>
            </p:nvSpPr>
            <p:spPr>
              <a:xfrm flipH="1">
                <a:off x="1854991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33" name="Rectangle 132"/>
            <p:cNvSpPr/>
            <p:nvPr/>
          </p:nvSpPr>
          <p:spPr>
            <a:xfrm>
              <a:off x="2458435" y="3878262"/>
              <a:ext cx="978919" cy="407987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3437355" y="3878262"/>
              <a:ext cx="493822" cy="407987"/>
            </a:xfrm>
            <a:prstGeom prst="rect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35" name="Group 134"/>
            <p:cNvGrpSpPr/>
            <p:nvPr/>
          </p:nvGrpSpPr>
          <p:grpSpPr>
            <a:xfrm flipV="1">
              <a:off x="3550369" y="3878262"/>
              <a:ext cx="267792" cy="132482"/>
              <a:chOff x="1720470" y="2895600"/>
              <a:chExt cx="267792" cy="166686"/>
            </a:xfrm>
          </p:grpSpPr>
          <p:sp>
            <p:nvSpPr>
              <p:cNvPr id="141" name="Right Triangle 116"/>
              <p:cNvSpPr/>
              <p:nvPr/>
            </p:nvSpPr>
            <p:spPr>
              <a:xfrm>
                <a:off x="1720470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2" name="Right Triangle 116"/>
              <p:cNvSpPr/>
              <p:nvPr/>
            </p:nvSpPr>
            <p:spPr>
              <a:xfrm flipH="1">
                <a:off x="1854991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136" name="Straight Connector 135"/>
            <p:cNvCxnSpPr>
              <a:stCxn id="141" idx="0"/>
              <a:endCxn id="142" idx="0"/>
            </p:cNvCxnSpPr>
            <p:nvPr/>
          </p:nvCxnSpPr>
          <p:spPr>
            <a:xfrm>
              <a:off x="3550369" y="3878262"/>
              <a:ext cx="267792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  <p:grpSp>
          <p:nvGrpSpPr>
            <p:cNvPr id="137" name="Group 136"/>
            <p:cNvGrpSpPr/>
            <p:nvPr/>
          </p:nvGrpSpPr>
          <p:grpSpPr>
            <a:xfrm flipV="1">
              <a:off x="2663318" y="3869890"/>
              <a:ext cx="267792" cy="132482"/>
              <a:chOff x="1720470" y="2895600"/>
              <a:chExt cx="267792" cy="166686"/>
            </a:xfrm>
          </p:grpSpPr>
          <p:sp>
            <p:nvSpPr>
              <p:cNvPr id="139" name="Right Triangle 116"/>
              <p:cNvSpPr/>
              <p:nvPr/>
            </p:nvSpPr>
            <p:spPr>
              <a:xfrm>
                <a:off x="1720470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0" name="Right Triangle 116"/>
              <p:cNvSpPr/>
              <p:nvPr/>
            </p:nvSpPr>
            <p:spPr>
              <a:xfrm flipH="1">
                <a:off x="1854991" y="2895600"/>
                <a:ext cx="133271" cy="166686"/>
              </a:xfrm>
              <a:custGeom>
                <a:avLst/>
                <a:gdLst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  <a:gd name="connsiteX0" fmla="*/ 0 w 133271"/>
                  <a:gd name="connsiteY0" fmla="*/ 166686 h 166686"/>
                  <a:gd name="connsiteX1" fmla="*/ 0 w 133271"/>
                  <a:gd name="connsiteY1" fmla="*/ 0 h 166686"/>
                  <a:gd name="connsiteX2" fmla="*/ 133271 w 133271"/>
                  <a:gd name="connsiteY2" fmla="*/ 166686 h 166686"/>
                  <a:gd name="connsiteX3" fmla="*/ 0 w 133271"/>
                  <a:gd name="connsiteY3" fmla="*/ 166686 h 16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271" h="166686">
                    <a:moveTo>
                      <a:pt x="0" y="166686"/>
                    </a:moveTo>
                    <a:lnTo>
                      <a:pt x="0" y="0"/>
                    </a:lnTo>
                    <a:cubicBezTo>
                      <a:pt x="60311" y="2382"/>
                      <a:pt x="130889" y="69849"/>
                      <a:pt x="133271" y="166686"/>
                    </a:cubicBezTo>
                    <a:lnTo>
                      <a:pt x="0" y="166686"/>
                    </a:lnTo>
                    <a:close/>
                  </a:path>
                </a:pathLst>
              </a:custGeom>
              <a:noFill/>
              <a:ln w="6350" cap="flat" cmpd="sng" algn="ctr">
                <a:solidFill>
                  <a:sysClr val="windowText" lastClr="0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cxnSp>
          <p:nvCxnSpPr>
            <p:cNvPr id="138" name="Straight Connector 137"/>
            <p:cNvCxnSpPr>
              <a:stCxn id="139" idx="0"/>
              <a:endCxn id="140" idx="0"/>
            </p:cNvCxnSpPr>
            <p:nvPr/>
          </p:nvCxnSpPr>
          <p:spPr>
            <a:xfrm>
              <a:off x="2663318" y="3869890"/>
              <a:ext cx="267792" cy="0"/>
            </a:xfrm>
            <a:prstGeom prst="line">
              <a:avLst/>
            </a:prstGeom>
            <a:noFill/>
            <a:ln w="28575" cap="flat" cmpd="sng" algn="ctr">
              <a:solidFill>
                <a:sysClr val="window" lastClr="FFFFFF"/>
              </a:solidFill>
              <a:prstDash val="solid"/>
            </a:ln>
            <a:effectLst/>
          </p:spPr>
        </p:cxnSp>
      </p:grpSp>
      <p:grpSp>
        <p:nvGrpSpPr>
          <p:cNvPr id="153" name="Group 152"/>
          <p:cNvGrpSpPr/>
          <p:nvPr/>
        </p:nvGrpSpPr>
        <p:grpSpPr>
          <a:xfrm>
            <a:off x="5168257" y="1542641"/>
            <a:ext cx="2355793" cy="1595102"/>
            <a:chOff x="100113" y="4419599"/>
            <a:chExt cx="2683306" cy="1676401"/>
          </a:xfrm>
        </p:grpSpPr>
        <p:sp>
          <p:nvSpPr>
            <p:cNvPr id="154" name="Cube 153"/>
            <p:cNvSpPr/>
            <p:nvPr/>
          </p:nvSpPr>
          <p:spPr>
            <a:xfrm>
              <a:off x="1358900" y="4495800"/>
              <a:ext cx="1361381" cy="1600200"/>
            </a:xfrm>
            <a:prstGeom prst="cube">
              <a:avLst/>
            </a:prstGeom>
            <a:noFill/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Cube 154"/>
            <p:cNvSpPr/>
            <p:nvPr/>
          </p:nvSpPr>
          <p:spPr>
            <a:xfrm>
              <a:off x="1278555" y="4419599"/>
              <a:ext cx="1504864" cy="447675"/>
            </a:xfrm>
            <a:prstGeom prst="cube">
              <a:avLst>
                <a:gd name="adj" fmla="val 78571"/>
              </a:avLst>
            </a:prstGeom>
            <a:solidFill>
              <a:sysClr val="window" lastClr="FFFFFF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Rectangle 155"/>
            <p:cNvSpPr/>
            <p:nvPr/>
          </p:nvSpPr>
          <p:spPr>
            <a:xfrm>
              <a:off x="2416944" y="4972050"/>
              <a:ext cx="329269" cy="990600"/>
            </a:xfrm>
            <a:prstGeom prst="rect">
              <a:avLst/>
            </a:prstGeom>
            <a:solidFill>
              <a:srgbClr val="F79646">
                <a:lumMod val="50000"/>
              </a:srgbClr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  <a:scene3d>
              <a:camera prst="isometricLeftDown">
                <a:rot lat="2100000" lon="7140000" rev="0"/>
              </a:camera>
              <a:lightRig rig="threePt" dir="t"/>
            </a:scene3d>
          </p:spPr>
          <p:txBody>
            <a:bodyPr rtlCol="0" anchor="ctr"/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</p:txBody>
        </p:sp>
        <p:sp>
          <p:nvSpPr>
            <p:cNvPr id="157" name="Rectangle 156"/>
            <p:cNvSpPr/>
            <p:nvPr/>
          </p:nvSpPr>
          <p:spPr>
            <a:xfrm>
              <a:off x="1620118" y="5105400"/>
              <a:ext cx="493822" cy="457200"/>
            </a:xfrm>
            <a:prstGeom prst="rect">
              <a:avLst/>
            </a:prstGeom>
            <a:pattFill prst="lgGrid">
              <a:fgClr>
                <a:sysClr val="windowText" lastClr="000000"/>
              </a:fgClr>
              <a:bgClr>
                <a:sysClr val="window" lastClr="FFFFFF"/>
              </a:bgClr>
            </a:patt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58" name="Straight Arrow Connector 157"/>
            <p:cNvCxnSpPr/>
            <p:nvPr/>
          </p:nvCxnSpPr>
          <p:spPr>
            <a:xfrm>
              <a:off x="1256618" y="5105400"/>
              <a:ext cx="0" cy="457200"/>
            </a:xfrm>
            <a:prstGeom prst="straightConnector1">
              <a:avLst/>
            </a:prstGeom>
            <a:noFill/>
            <a:ln w="9525" cap="flat" cmpd="sng" algn="ctr">
              <a:solidFill>
                <a:sysClr val="windowText" lastClr="000000"/>
              </a:solidFill>
              <a:prstDash val="solid"/>
              <a:headEnd type="triangle"/>
              <a:tailEnd type="triangle"/>
            </a:ln>
            <a:effectLst/>
          </p:spPr>
        </p:cxnSp>
        <p:sp>
          <p:nvSpPr>
            <p:cNvPr id="159" name="TextBox 158"/>
            <p:cNvSpPr txBox="1"/>
            <p:nvPr/>
          </p:nvSpPr>
          <p:spPr>
            <a:xfrm>
              <a:off x="100113" y="4824787"/>
              <a:ext cx="1149923" cy="12615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hi-IN" kern="0" dirty="0" smtClean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.3 मीटर पेक्षा कमी </a:t>
              </a:r>
              <a:r>
                <a:rPr lang="mr-IN" kern="0" dirty="0" smtClean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ऊंची नसावी.</a:t>
              </a:r>
              <a:endParaRPr kumimoji="0" lang="en-US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1677156" y="5252650"/>
              <a:ext cx="385256" cy="16173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lIns="0" tIns="0" rIns="0" bIns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0.3 m</a:t>
              </a:r>
              <a:r>
                <a:rPr kumimoji="0" lang="en-US" sz="1000" b="0" i="0" u="none" strike="noStrike" kern="0" cap="none" spc="0" normalizeH="0" baseline="3000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rPr>
                <a:t>2</a:t>
              </a: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161" name="Rectangle 160"/>
          <p:cNvSpPr/>
          <p:nvPr/>
        </p:nvSpPr>
        <p:spPr>
          <a:xfrm>
            <a:off x="4761120" y="990600"/>
            <a:ext cx="4164539" cy="2438400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spcBef>
                <a:spcPts val="600"/>
              </a:spcBef>
              <a:defRPr/>
            </a:pP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खिडकी/</a:t>
            </a:r>
            <a:r>
              <a:rPr lang="mr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mr-IN" sz="2000" kern="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तावदान</a:t>
            </a:r>
            <a:endParaRPr lang="en-US" sz="2000" kern="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3" name="Rectangle 162"/>
          <p:cNvSpPr/>
          <p:nvPr/>
        </p:nvSpPr>
        <p:spPr>
          <a:xfrm>
            <a:off x="4761119" y="3581400"/>
            <a:ext cx="4164540" cy="2590800"/>
          </a:xfrm>
          <a:prstGeom prst="rect">
            <a:avLst/>
          </a:prstGeom>
          <a:noFill/>
          <a:ln w="25400" cap="flat" cmpd="sng" algn="ctr">
            <a:solidFill>
              <a:schemeClr val="tx1"/>
            </a:solidFill>
            <a:prstDash val="solid"/>
          </a:ln>
          <a:effectLst/>
        </p:spPr>
        <p:txBody>
          <a:bodyPr rtlCol="0" anchor="t"/>
          <a:lstStyle/>
          <a:p>
            <a:pPr lvl="0" algn="ctr">
              <a:defRPr/>
            </a:pP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स्वयंपाकघ</a:t>
            </a:r>
            <a:r>
              <a:rPr lang="mr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रामध्ये </a:t>
            </a:r>
            <a:r>
              <a:rPr lang="hi-IN" sz="2000" kern="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उघडू नये</a:t>
            </a: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64" name="Flowchart: Manual Operation 163"/>
          <p:cNvSpPr/>
          <p:nvPr/>
        </p:nvSpPr>
        <p:spPr>
          <a:xfrm rot="5400000" flipH="1">
            <a:off x="7377182" y="4655505"/>
            <a:ext cx="1753548" cy="929603"/>
          </a:xfrm>
          <a:prstGeom prst="flowChartManualOperation">
            <a:avLst/>
          </a:prstGeom>
          <a:gradFill>
            <a:gsLst>
              <a:gs pos="0">
                <a:sysClr val="window" lastClr="FFFFFF">
                  <a:lumMod val="65000"/>
                  <a:alpha val="0"/>
                </a:sysClr>
              </a:gs>
              <a:gs pos="50000">
                <a:sysClr val="window" lastClr="FFFFFF">
                  <a:lumMod val="65000"/>
                </a:sysClr>
              </a:gs>
              <a:gs pos="100000">
                <a:sysClr val="window" lastClr="FFFFFF">
                  <a:lumMod val="50000"/>
                </a:sysClr>
              </a:gs>
            </a:gsLst>
            <a:lin ang="5400000" scaled="0"/>
          </a:gra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5978718" y="4595344"/>
            <a:ext cx="1808639" cy="1051560"/>
          </a:xfrm>
          <a:prstGeom prst="rect">
            <a:avLst/>
          </a:prstGeom>
          <a:solidFill>
            <a:sysClr val="window" lastClr="FFFFFF">
              <a:lumMod val="85000"/>
            </a:sysClr>
          </a:solidFill>
          <a:ln w="31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6" name="Rectangle 193"/>
          <p:cNvSpPr/>
          <p:nvPr/>
        </p:nvSpPr>
        <p:spPr>
          <a:xfrm>
            <a:off x="5410199" y="4744013"/>
            <a:ext cx="402106" cy="1156646"/>
          </a:xfrm>
          <a:custGeom>
            <a:avLst/>
            <a:gdLst>
              <a:gd name="connsiteX0" fmla="*/ 0 w 401952"/>
              <a:gd name="connsiteY0" fmla="*/ 0 h 1000043"/>
              <a:gd name="connsiteX1" fmla="*/ 401952 w 401952"/>
              <a:gd name="connsiteY1" fmla="*/ 0 h 1000043"/>
              <a:gd name="connsiteX2" fmla="*/ 401952 w 401952"/>
              <a:gd name="connsiteY2" fmla="*/ 1000043 h 1000043"/>
              <a:gd name="connsiteX3" fmla="*/ 0 w 401952"/>
              <a:gd name="connsiteY3" fmla="*/ 1000043 h 1000043"/>
              <a:gd name="connsiteX4" fmla="*/ 0 w 401952"/>
              <a:gd name="connsiteY4" fmla="*/ 0 h 1000043"/>
              <a:gd name="connsiteX0" fmla="*/ 0 w 401952"/>
              <a:gd name="connsiteY0" fmla="*/ 80962 h 1081005"/>
              <a:gd name="connsiteX1" fmla="*/ 387665 w 401952"/>
              <a:gd name="connsiteY1" fmla="*/ 0 h 1081005"/>
              <a:gd name="connsiteX2" fmla="*/ 401952 w 401952"/>
              <a:gd name="connsiteY2" fmla="*/ 1081005 h 1081005"/>
              <a:gd name="connsiteX3" fmla="*/ 0 w 401952"/>
              <a:gd name="connsiteY3" fmla="*/ 1081005 h 1081005"/>
              <a:gd name="connsiteX4" fmla="*/ 0 w 401952"/>
              <a:gd name="connsiteY4" fmla="*/ 80962 h 1081005"/>
              <a:gd name="connsiteX0" fmla="*/ 0 w 401952"/>
              <a:gd name="connsiteY0" fmla="*/ 152400 h 1152443"/>
              <a:gd name="connsiteX1" fmla="*/ 392427 w 401952"/>
              <a:gd name="connsiteY1" fmla="*/ 0 h 1152443"/>
              <a:gd name="connsiteX2" fmla="*/ 401952 w 401952"/>
              <a:gd name="connsiteY2" fmla="*/ 1152443 h 1152443"/>
              <a:gd name="connsiteX3" fmla="*/ 0 w 401952"/>
              <a:gd name="connsiteY3" fmla="*/ 1152443 h 1152443"/>
              <a:gd name="connsiteX4" fmla="*/ 0 w 401952"/>
              <a:gd name="connsiteY4" fmla="*/ 152400 h 1152443"/>
              <a:gd name="connsiteX0" fmla="*/ 0 w 401952"/>
              <a:gd name="connsiteY0" fmla="*/ 214312 h 1214355"/>
              <a:gd name="connsiteX1" fmla="*/ 354327 w 401952"/>
              <a:gd name="connsiteY1" fmla="*/ 0 h 1214355"/>
              <a:gd name="connsiteX2" fmla="*/ 401952 w 401952"/>
              <a:gd name="connsiteY2" fmla="*/ 1214355 h 1214355"/>
              <a:gd name="connsiteX3" fmla="*/ 0 w 401952"/>
              <a:gd name="connsiteY3" fmla="*/ 1214355 h 1214355"/>
              <a:gd name="connsiteX4" fmla="*/ 0 w 401952"/>
              <a:gd name="connsiteY4" fmla="*/ 214312 h 1214355"/>
              <a:gd name="connsiteX0" fmla="*/ 0 w 416240"/>
              <a:gd name="connsiteY0" fmla="*/ 214312 h 1214355"/>
              <a:gd name="connsiteX1" fmla="*/ 416240 w 416240"/>
              <a:gd name="connsiteY1" fmla="*/ 0 h 1214355"/>
              <a:gd name="connsiteX2" fmla="*/ 401952 w 416240"/>
              <a:gd name="connsiteY2" fmla="*/ 1214355 h 1214355"/>
              <a:gd name="connsiteX3" fmla="*/ 0 w 416240"/>
              <a:gd name="connsiteY3" fmla="*/ 1214355 h 1214355"/>
              <a:gd name="connsiteX4" fmla="*/ 0 w 416240"/>
              <a:gd name="connsiteY4" fmla="*/ 214312 h 1214355"/>
              <a:gd name="connsiteX0" fmla="*/ 0 w 416240"/>
              <a:gd name="connsiteY0" fmla="*/ 214312 h 1214355"/>
              <a:gd name="connsiteX1" fmla="*/ 416240 w 416240"/>
              <a:gd name="connsiteY1" fmla="*/ 0 h 1214355"/>
              <a:gd name="connsiteX2" fmla="*/ 404813 w 416240"/>
              <a:gd name="connsiteY2" fmla="*/ 19050 h 1214355"/>
              <a:gd name="connsiteX3" fmla="*/ 401952 w 416240"/>
              <a:gd name="connsiteY3" fmla="*/ 1214355 h 1214355"/>
              <a:gd name="connsiteX4" fmla="*/ 0 w 416240"/>
              <a:gd name="connsiteY4" fmla="*/ 1214355 h 1214355"/>
              <a:gd name="connsiteX5" fmla="*/ 0 w 416240"/>
              <a:gd name="connsiteY5" fmla="*/ 214312 h 1214355"/>
              <a:gd name="connsiteX0" fmla="*/ 0 w 404813"/>
              <a:gd name="connsiteY0" fmla="*/ 195262 h 1195305"/>
              <a:gd name="connsiteX1" fmla="*/ 404813 w 404813"/>
              <a:gd name="connsiteY1" fmla="*/ 0 h 1195305"/>
              <a:gd name="connsiteX2" fmla="*/ 401952 w 404813"/>
              <a:gd name="connsiteY2" fmla="*/ 1195305 h 1195305"/>
              <a:gd name="connsiteX3" fmla="*/ 0 w 404813"/>
              <a:gd name="connsiteY3" fmla="*/ 1195305 h 1195305"/>
              <a:gd name="connsiteX4" fmla="*/ 0 w 404813"/>
              <a:gd name="connsiteY4" fmla="*/ 195262 h 1195305"/>
              <a:gd name="connsiteX0" fmla="*/ 0 w 404813"/>
              <a:gd name="connsiteY0" fmla="*/ 92868 h 1092911"/>
              <a:gd name="connsiteX1" fmla="*/ 404813 w 404813"/>
              <a:gd name="connsiteY1" fmla="*/ 0 h 1092911"/>
              <a:gd name="connsiteX2" fmla="*/ 401952 w 404813"/>
              <a:gd name="connsiteY2" fmla="*/ 1092911 h 1092911"/>
              <a:gd name="connsiteX3" fmla="*/ 0 w 404813"/>
              <a:gd name="connsiteY3" fmla="*/ 1092911 h 1092911"/>
              <a:gd name="connsiteX4" fmla="*/ 0 w 404813"/>
              <a:gd name="connsiteY4" fmla="*/ 92868 h 1092911"/>
              <a:gd name="connsiteX0" fmla="*/ 0 w 402052"/>
              <a:gd name="connsiteY0" fmla="*/ 0 h 1000043"/>
              <a:gd name="connsiteX1" fmla="*/ 397669 w 402052"/>
              <a:gd name="connsiteY1" fmla="*/ 14288 h 1000043"/>
              <a:gd name="connsiteX2" fmla="*/ 401952 w 402052"/>
              <a:gd name="connsiteY2" fmla="*/ 1000043 h 1000043"/>
              <a:gd name="connsiteX3" fmla="*/ 0 w 402052"/>
              <a:gd name="connsiteY3" fmla="*/ 1000043 h 1000043"/>
              <a:gd name="connsiteX4" fmla="*/ 0 w 402052"/>
              <a:gd name="connsiteY4" fmla="*/ 0 h 1000043"/>
              <a:gd name="connsiteX0" fmla="*/ 0 w 402052"/>
              <a:gd name="connsiteY0" fmla="*/ 0 h 1000043"/>
              <a:gd name="connsiteX1" fmla="*/ 397669 w 402052"/>
              <a:gd name="connsiteY1" fmla="*/ 54770 h 1000043"/>
              <a:gd name="connsiteX2" fmla="*/ 401952 w 402052"/>
              <a:gd name="connsiteY2" fmla="*/ 1000043 h 1000043"/>
              <a:gd name="connsiteX3" fmla="*/ 0 w 402052"/>
              <a:gd name="connsiteY3" fmla="*/ 1000043 h 1000043"/>
              <a:gd name="connsiteX4" fmla="*/ 0 w 402052"/>
              <a:gd name="connsiteY4" fmla="*/ 0 h 1000043"/>
              <a:gd name="connsiteX0" fmla="*/ 0 w 402052"/>
              <a:gd name="connsiteY0" fmla="*/ 0 h 1000043"/>
              <a:gd name="connsiteX1" fmla="*/ 397669 w 402052"/>
              <a:gd name="connsiteY1" fmla="*/ 133351 h 1000043"/>
              <a:gd name="connsiteX2" fmla="*/ 401952 w 402052"/>
              <a:gd name="connsiteY2" fmla="*/ 1000043 h 1000043"/>
              <a:gd name="connsiteX3" fmla="*/ 0 w 402052"/>
              <a:gd name="connsiteY3" fmla="*/ 1000043 h 1000043"/>
              <a:gd name="connsiteX4" fmla="*/ 0 w 402052"/>
              <a:gd name="connsiteY4" fmla="*/ 0 h 1000043"/>
              <a:gd name="connsiteX0" fmla="*/ 0 w 402106"/>
              <a:gd name="connsiteY0" fmla="*/ 0 h 1000043"/>
              <a:gd name="connsiteX1" fmla="*/ 400051 w 402106"/>
              <a:gd name="connsiteY1" fmla="*/ 166688 h 1000043"/>
              <a:gd name="connsiteX2" fmla="*/ 401952 w 402106"/>
              <a:gd name="connsiteY2" fmla="*/ 1000043 h 1000043"/>
              <a:gd name="connsiteX3" fmla="*/ 0 w 402106"/>
              <a:gd name="connsiteY3" fmla="*/ 1000043 h 1000043"/>
              <a:gd name="connsiteX4" fmla="*/ 0 w 402106"/>
              <a:gd name="connsiteY4" fmla="*/ 0 h 1000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2106" h="1000043">
                <a:moveTo>
                  <a:pt x="0" y="0"/>
                </a:moveTo>
                <a:lnTo>
                  <a:pt x="400051" y="166688"/>
                </a:lnTo>
                <a:cubicBezTo>
                  <a:pt x="399097" y="565123"/>
                  <a:pt x="402906" y="601608"/>
                  <a:pt x="401952" y="1000043"/>
                </a:cubicBezTo>
                <a:lnTo>
                  <a:pt x="0" y="1000043"/>
                </a:lnTo>
                <a:lnTo>
                  <a:pt x="0" y="0"/>
                </a:lnTo>
                <a:close/>
              </a:path>
            </a:pathLst>
          </a:custGeom>
          <a:solidFill>
            <a:sysClr val="window" lastClr="FFFFFF">
              <a:lumMod val="85000"/>
            </a:sys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  <a:scene3d>
            <a:camera prst="isometricLeftDown">
              <a:rot lat="2400000" lon="19800000" rev="0"/>
            </a:camera>
            <a:lightRig rig="threePt" dir="t"/>
          </a:scene3d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7" name="Picture 4" descr="https://encrypted-tbn2.gstatic.com/images?q=tbn:ANd9GcR2szAWdhB62sybKt5AZwHFJ0U_RujYRpOCNroDLRfdL0_LLAIC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58" r="8412"/>
          <a:stretch/>
        </p:blipFill>
        <p:spPr bwMode="auto">
          <a:xfrm flipH="1">
            <a:off x="5458348" y="5303334"/>
            <a:ext cx="318551" cy="366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8" name="Rectangle 167"/>
          <p:cNvSpPr/>
          <p:nvPr/>
        </p:nvSpPr>
        <p:spPr>
          <a:xfrm>
            <a:off x="6273402" y="4953000"/>
            <a:ext cx="813198" cy="5148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9" name="Rounded Rectangle 168"/>
          <p:cNvSpPr/>
          <p:nvPr/>
        </p:nvSpPr>
        <p:spPr>
          <a:xfrm>
            <a:off x="6843389" y="5410200"/>
            <a:ext cx="144267" cy="236704"/>
          </a:xfrm>
          <a:prstGeom prst="roundRect">
            <a:avLst/>
          </a:prstGeom>
          <a:solidFill>
            <a:srgbClr val="FF0000">
              <a:alpha val="50000"/>
            </a:srgb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0" name="Oval 169"/>
          <p:cNvSpPr/>
          <p:nvPr/>
        </p:nvSpPr>
        <p:spPr>
          <a:xfrm>
            <a:off x="6871010" y="5332782"/>
            <a:ext cx="100952" cy="45719"/>
          </a:xfrm>
          <a:prstGeom prst="ellipse">
            <a:avLst/>
          </a:prstGeom>
          <a:noFill/>
          <a:ln w="19050" cap="flat" cmpd="sng" algn="ctr">
            <a:solidFill>
              <a:srgbClr val="FF0000">
                <a:alpha val="52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71" name="Straight Connector 170"/>
          <p:cNvCxnSpPr/>
          <p:nvPr/>
        </p:nvCxnSpPr>
        <p:spPr>
          <a:xfrm flipH="1" flipV="1">
            <a:off x="6892561" y="5371134"/>
            <a:ext cx="2757" cy="39959"/>
          </a:xfrm>
          <a:prstGeom prst="line">
            <a:avLst/>
          </a:prstGeom>
          <a:noFill/>
          <a:ln w="19050" cap="flat" cmpd="sng" algn="ctr">
            <a:solidFill>
              <a:srgbClr val="FF0000">
                <a:alpha val="52000"/>
              </a:srgbClr>
            </a:solidFill>
            <a:prstDash val="solid"/>
          </a:ln>
          <a:effectLst/>
        </p:spPr>
      </p:cxnSp>
      <p:cxnSp>
        <p:nvCxnSpPr>
          <p:cNvPr id="172" name="Straight Connector 171"/>
          <p:cNvCxnSpPr/>
          <p:nvPr/>
        </p:nvCxnSpPr>
        <p:spPr>
          <a:xfrm flipH="1" flipV="1">
            <a:off x="6948110" y="5371134"/>
            <a:ext cx="2757" cy="39959"/>
          </a:xfrm>
          <a:prstGeom prst="line">
            <a:avLst/>
          </a:prstGeom>
          <a:noFill/>
          <a:ln w="19050" cap="flat" cmpd="sng" algn="ctr">
            <a:solidFill>
              <a:srgbClr val="FF0000">
                <a:alpha val="52000"/>
              </a:srgbClr>
            </a:solidFill>
            <a:prstDash val="solid"/>
          </a:ln>
          <a:effectLst/>
        </p:spPr>
      </p:cxnSp>
      <p:cxnSp>
        <p:nvCxnSpPr>
          <p:cNvPr id="173" name="Straight Connector 172"/>
          <p:cNvCxnSpPr/>
          <p:nvPr/>
        </p:nvCxnSpPr>
        <p:spPr>
          <a:xfrm flipH="1" flipV="1">
            <a:off x="6922287" y="5336342"/>
            <a:ext cx="2757" cy="70792"/>
          </a:xfrm>
          <a:prstGeom prst="line">
            <a:avLst/>
          </a:prstGeom>
          <a:noFill/>
          <a:ln w="19050" cap="flat" cmpd="sng" algn="ctr">
            <a:solidFill>
              <a:srgbClr val="FF0000">
                <a:alpha val="52000"/>
              </a:srgbClr>
            </a:solidFill>
            <a:prstDash val="solid"/>
          </a:ln>
          <a:effectLst/>
        </p:spPr>
      </p:cxnSp>
      <p:pic>
        <p:nvPicPr>
          <p:cNvPr id="174" name="Picture 2" descr="https://image-gr.s3.envato.com/files/1190068/bakery01-590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806" b="18871" l="678" r="99153">
                        <a14:foregroundMark x1="59831" y1="6452" x2="59831" y2="64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82034"/>
          <a:stretch/>
        </p:blipFill>
        <p:spPr bwMode="auto">
          <a:xfrm>
            <a:off x="6259007" y="4733924"/>
            <a:ext cx="846641" cy="208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5" name="Picture 2" descr="https://image-gr.s3.envato.com/files/1190068/bakery01-590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3226" b="50323" l="5085" r="35085">
                        <a14:foregroundMark x1="33559" y1="28548" x2="33559" y2="28548"/>
                        <a14:foregroundMark x1="31695" y1="28710" x2="31695" y2="28710"/>
                        <a14:foregroundMark x1="32712" y1="25968" x2="32712" y2="25968"/>
                        <a14:foregroundMark x1="32881" y1="26935" x2="32881" y2="26935"/>
                        <a14:foregroundMark x1="31017" y1="36129" x2="31017" y2="361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19" t="23085" r="64514" b="48876"/>
          <a:stretch/>
        </p:blipFill>
        <p:spPr bwMode="auto">
          <a:xfrm>
            <a:off x="7176905" y="4699232"/>
            <a:ext cx="454779" cy="399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6" name="Parallelogram 175"/>
          <p:cNvSpPr/>
          <p:nvPr/>
        </p:nvSpPr>
        <p:spPr>
          <a:xfrm rot="16200000" flipH="1">
            <a:off x="5588508" y="5119906"/>
            <a:ext cx="793013" cy="397180"/>
          </a:xfrm>
          <a:prstGeom prst="parallelogram">
            <a:avLst>
              <a:gd name="adj" fmla="val 12392"/>
            </a:avLst>
          </a:prstGeom>
          <a:pattFill prst="lgConfetti">
            <a:fgClr>
              <a:srgbClr val="F79646">
                <a:lumMod val="50000"/>
              </a:srgbClr>
            </a:fgClr>
            <a:bgClr>
              <a:sysClr val="window" lastClr="FFFFFF"/>
            </a:bgClr>
          </a:patt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pic>
        <p:nvPicPr>
          <p:cNvPr id="177" name="Picture 4" descr="http://static3.depositphotos.com/1000321/204/v/450/depositphotos_2041488-Kitchen-shelves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67" r="53591" b="83718"/>
          <a:stretch/>
        </p:blipFill>
        <p:spPr bwMode="auto">
          <a:xfrm>
            <a:off x="6475583" y="5045726"/>
            <a:ext cx="344317" cy="204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4" descr="http://static3.depositphotos.com/1000321/204/v/450/depositphotos_2041488-Kitchen-shelves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23" r="9182" b="83718"/>
          <a:stretch/>
        </p:blipFill>
        <p:spPr bwMode="auto">
          <a:xfrm>
            <a:off x="7105648" y="5046688"/>
            <a:ext cx="419632" cy="204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9" name="Rectangle 178"/>
          <p:cNvSpPr/>
          <p:nvPr/>
        </p:nvSpPr>
        <p:spPr>
          <a:xfrm>
            <a:off x="6849170" y="5216912"/>
            <a:ext cx="223144" cy="45719"/>
          </a:xfrm>
          <a:prstGeom prst="rect">
            <a:avLst/>
          </a:prstGeom>
          <a:solidFill>
            <a:sysClr val="windowText" lastClr="000000">
              <a:lumMod val="65000"/>
              <a:lumOff val="35000"/>
            </a:sysClr>
          </a:solidFill>
          <a:ln w="95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180" name="Right Arrow 179"/>
          <p:cNvSpPr/>
          <p:nvPr/>
        </p:nvSpPr>
        <p:spPr>
          <a:xfrm>
            <a:off x="5703545" y="5210482"/>
            <a:ext cx="255255" cy="281177"/>
          </a:xfrm>
          <a:prstGeom prst="rightArrow">
            <a:avLst/>
          </a:prstGeom>
          <a:solidFill>
            <a:srgbClr val="FF0000"/>
          </a:solidFill>
          <a:ln w="127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1" name="Picture 6" descr="http://www.cliparthut.com/clip-arts/387/fire-symbol-clip-art-387788.png"/>
          <p:cNvPicPr>
            <a:picLocks noChangeAspect="1" noChangeArrowheads="1"/>
          </p:cNvPicPr>
          <p:nvPr/>
        </p:nvPicPr>
        <p:blipFill>
          <a:blip r:embed="rId9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7258" y="5147803"/>
            <a:ext cx="95038" cy="64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6" descr="http://www.cliparthut.com/clip-arts/387/fire-symbol-clip-art-387788.png"/>
          <p:cNvPicPr>
            <a:picLocks noChangeAspect="1" noChangeArrowheads="1"/>
          </p:cNvPicPr>
          <p:nvPr/>
        </p:nvPicPr>
        <p:blipFill>
          <a:blip r:embed="rId9" cstate="print">
            <a:duotone>
              <a:srgbClr val="F7964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0534" y="5149679"/>
            <a:ext cx="95038" cy="643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3" name="Curved Connector 182"/>
          <p:cNvCxnSpPr>
            <a:stCxn id="169" idx="0"/>
            <a:endCxn id="179" idx="3"/>
          </p:cNvCxnSpPr>
          <p:nvPr/>
        </p:nvCxnSpPr>
        <p:spPr>
          <a:xfrm rot="5400000" flipH="1" flipV="1">
            <a:off x="6908704" y="5246591"/>
            <a:ext cx="170428" cy="156791"/>
          </a:xfrm>
          <a:prstGeom prst="curvedConnector4">
            <a:avLst>
              <a:gd name="adj1" fmla="val 6964"/>
              <a:gd name="adj2" fmla="val 130375"/>
            </a:avLst>
          </a:prstGeom>
          <a:noFill/>
          <a:ln w="9525" cap="flat" cmpd="sng" algn="ctr">
            <a:solidFill>
              <a:srgbClr val="00B050"/>
            </a:solidFill>
            <a:prstDash val="solid"/>
          </a:ln>
          <a:effectLst/>
        </p:spPr>
      </p:cxnSp>
      <p:sp>
        <p:nvSpPr>
          <p:cNvPr id="184" name="Rectangle 183"/>
          <p:cNvSpPr/>
          <p:nvPr/>
        </p:nvSpPr>
        <p:spPr>
          <a:xfrm>
            <a:off x="6487497" y="5265643"/>
            <a:ext cx="1021313" cy="47390"/>
          </a:xfrm>
          <a:prstGeom prst="rect">
            <a:avLst/>
          </a:prstGeom>
          <a:solidFill>
            <a:sysClr val="windowText" lastClr="000000">
              <a:lumMod val="75000"/>
              <a:lumOff val="25000"/>
            </a:sysClr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5" name="Multiply 184"/>
          <p:cNvSpPr/>
          <p:nvPr/>
        </p:nvSpPr>
        <p:spPr>
          <a:xfrm>
            <a:off x="7533202" y="4995119"/>
            <a:ext cx="1440268" cy="1332779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6" name="Multiply 185"/>
          <p:cNvSpPr/>
          <p:nvPr/>
        </p:nvSpPr>
        <p:spPr>
          <a:xfrm>
            <a:off x="304800" y="4978740"/>
            <a:ext cx="1440268" cy="1332779"/>
          </a:xfrm>
          <a:prstGeom prst="mathMultiply">
            <a:avLst>
              <a:gd name="adj1" fmla="val 12085"/>
            </a:avLst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7" name="Freeform 186"/>
          <p:cNvSpPr/>
          <p:nvPr/>
        </p:nvSpPr>
        <p:spPr>
          <a:xfrm rot="1997533">
            <a:off x="2207821" y="2987213"/>
            <a:ext cx="78234" cy="316843"/>
          </a:xfrm>
          <a:custGeom>
            <a:avLst/>
            <a:gdLst>
              <a:gd name="connsiteX0" fmla="*/ 2117 w 65617"/>
              <a:gd name="connsiteY0" fmla="*/ 0 h 457200"/>
              <a:gd name="connsiteX1" fmla="*/ 52917 w 65617"/>
              <a:gd name="connsiteY1" fmla="*/ 127000 h 457200"/>
              <a:gd name="connsiteX2" fmla="*/ 2117 w 65617"/>
              <a:gd name="connsiteY2" fmla="*/ 241300 h 457200"/>
              <a:gd name="connsiteX3" fmla="*/ 40217 w 65617"/>
              <a:gd name="connsiteY3" fmla="*/ 406400 h 457200"/>
              <a:gd name="connsiteX4" fmla="*/ 65617 w 65617"/>
              <a:gd name="connsiteY4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17" h="457200">
                <a:moveTo>
                  <a:pt x="2117" y="0"/>
                </a:moveTo>
                <a:cubicBezTo>
                  <a:pt x="27517" y="43391"/>
                  <a:pt x="52917" y="86783"/>
                  <a:pt x="52917" y="127000"/>
                </a:cubicBezTo>
                <a:cubicBezTo>
                  <a:pt x="52917" y="167217"/>
                  <a:pt x="4234" y="194733"/>
                  <a:pt x="2117" y="241300"/>
                </a:cubicBezTo>
                <a:cubicBezTo>
                  <a:pt x="0" y="287867"/>
                  <a:pt x="29634" y="370417"/>
                  <a:pt x="40217" y="406400"/>
                </a:cubicBezTo>
                <a:cubicBezTo>
                  <a:pt x="50800" y="442383"/>
                  <a:pt x="58208" y="449791"/>
                  <a:pt x="65617" y="457200"/>
                </a:cubicBezTo>
              </a:path>
            </a:pathLst>
          </a:custGeom>
          <a:noFill/>
          <a:ln w="381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8" name="Freeform 187"/>
          <p:cNvSpPr/>
          <p:nvPr/>
        </p:nvSpPr>
        <p:spPr>
          <a:xfrm>
            <a:off x="2393016" y="3000836"/>
            <a:ext cx="78234" cy="316845"/>
          </a:xfrm>
          <a:custGeom>
            <a:avLst/>
            <a:gdLst>
              <a:gd name="connsiteX0" fmla="*/ 2117 w 65617"/>
              <a:gd name="connsiteY0" fmla="*/ 0 h 457200"/>
              <a:gd name="connsiteX1" fmla="*/ 52917 w 65617"/>
              <a:gd name="connsiteY1" fmla="*/ 127000 h 457200"/>
              <a:gd name="connsiteX2" fmla="*/ 2117 w 65617"/>
              <a:gd name="connsiteY2" fmla="*/ 241300 h 457200"/>
              <a:gd name="connsiteX3" fmla="*/ 40217 w 65617"/>
              <a:gd name="connsiteY3" fmla="*/ 406400 h 457200"/>
              <a:gd name="connsiteX4" fmla="*/ 65617 w 65617"/>
              <a:gd name="connsiteY4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17" h="457200">
                <a:moveTo>
                  <a:pt x="2117" y="0"/>
                </a:moveTo>
                <a:cubicBezTo>
                  <a:pt x="27517" y="43391"/>
                  <a:pt x="52917" y="86783"/>
                  <a:pt x="52917" y="127000"/>
                </a:cubicBezTo>
                <a:cubicBezTo>
                  <a:pt x="52917" y="167217"/>
                  <a:pt x="4234" y="194733"/>
                  <a:pt x="2117" y="241300"/>
                </a:cubicBezTo>
                <a:cubicBezTo>
                  <a:pt x="0" y="287867"/>
                  <a:pt x="29634" y="370417"/>
                  <a:pt x="40217" y="406400"/>
                </a:cubicBezTo>
                <a:cubicBezTo>
                  <a:pt x="50800" y="442383"/>
                  <a:pt x="58208" y="449791"/>
                  <a:pt x="65617" y="457200"/>
                </a:cubicBezTo>
              </a:path>
            </a:pathLst>
          </a:custGeom>
          <a:noFill/>
          <a:ln w="381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9" name="Freeform 188"/>
          <p:cNvSpPr/>
          <p:nvPr/>
        </p:nvSpPr>
        <p:spPr>
          <a:xfrm rot="20593046">
            <a:off x="2543935" y="2996290"/>
            <a:ext cx="78234" cy="316843"/>
          </a:xfrm>
          <a:custGeom>
            <a:avLst/>
            <a:gdLst>
              <a:gd name="connsiteX0" fmla="*/ 2117 w 65617"/>
              <a:gd name="connsiteY0" fmla="*/ 0 h 457200"/>
              <a:gd name="connsiteX1" fmla="*/ 52917 w 65617"/>
              <a:gd name="connsiteY1" fmla="*/ 127000 h 457200"/>
              <a:gd name="connsiteX2" fmla="*/ 2117 w 65617"/>
              <a:gd name="connsiteY2" fmla="*/ 241300 h 457200"/>
              <a:gd name="connsiteX3" fmla="*/ 40217 w 65617"/>
              <a:gd name="connsiteY3" fmla="*/ 406400 h 457200"/>
              <a:gd name="connsiteX4" fmla="*/ 65617 w 65617"/>
              <a:gd name="connsiteY4" fmla="*/ 4572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617" h="457200">
                <a:moveTo>
                  <a:pt x="2117" y="0"/>
                </a:moveTo>
                <a:cubicBezTo>
                  <a:pt x="27517" y="43391"/>
                  <a:pt x="52917" y="86783"/>
                  <a:pt x="52917" y="127000"/>
                </a:cubicBezTo>
                <a:cubicBezTo>
                  <a:pt x="52917" y="167217"/>
                  <a:pt x="4234" y="194733"/>
                  <a:pt x="2117" y="241300"/>
                </a:cubicBezTo>
                <a:cubicBezTo>
                  <a:pt x="0" y="287867"/>
                  <a:pt x="29634" y="370417"/>
                  <a:pt x="40217" y="406400"/>
                </a:cubicBezTo>
                <a:cubicBezTo>
                  <a:pt x="50800" y="442383"/>
                  <a:pt x="58208" y="449791"/>
                  <a:pt x="65617" y="457200"/>
                </a:cubicBezTo>
              </a:path>
            </a:pathLst>
          </a:custGeom>
          <a:noFill/>
          <a:ln w="38100" cap="flat" cmpd="sng" algn="ctr">
            <a:solidFill>
              <a:schemeClr val="tx2">
                <a:lumMod val="40000"/>
                <a:lumOff val="6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2" name="Right Arrow 161"/>
          <p:cNvSpPr/>
          <p:nvPr/>
        </p:nvSpPr>
        <p:spPr>
          <a:xfrm rot="16200000">
            <a:off x="2302056" y="2829136"/>
            <a:ext cx="255255" cy="281177"/>
          </a:xfrm>
          <a:prstGeom prst="rightArrow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1371600" y="4282251"/>
            <a:ext cx="840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खोली 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1752600" y="5285601"/>
            <a:ext cx="840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खोली 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3" name="TextBox 192"/>
          <p:cNvSpPr txBox="1"/>
          <p:nvPr/>
        </p:nvSpPr>
        <p:spPr>
          <a:xfrm>
            <a:off x="2817522" y="4599801"/>
            <a:ext cx="840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खोली 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2830830" y="5292090"/>
            <a:ext cx="840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खोली 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5" name="TextBox 194"/>
          <p:cNvSpPr txBox="1"/>
          <p:nvPr/>
        </p:nvSpPr>
        <p:spPr>
          <a:xfrm>
            <a:off x="2588922" y="3863340"/>
            <a:ext cx="8400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sz="1600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rPr>
              <a:t>खोली </a:t>
            </a:r>
            <a:endParaRPr lang="en-US" sz="1600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90" name="Rectangle 189"/>
          <p:cNvSpPr/>
          <p:nvPr/>
        </p:nvSpPr>
        <p:spPr>
          <a:xfrm>
            <a:off x="152400" y="6629400"/>
            <a:ext cx="912955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mr-IN" sz="800" dirty="0" smtClean="0">
                <a:solidFill>
                  <a:srgbClr val="FF0000"/>
                </a:solidFill>
              </a:rPr>
              <a:t>स्त्रोत: महाराष्ट्रातील नगर पंचायत व नगर परिषद – विकास नियंत्रण व प्रसार</a:t>
            </a:r>
            <a:endParaRPr lang="en-US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946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dian">
  <a:themeElements>
    <a:clrScheme name="PAS">
      <a:dk1>
        <a:srgbClr val="166A8C"/>
      </a:dk1>
      <a:lt1>
        <a:srgbClr val="FFFFFF"/>
      </a:lt1>
      <a:dk2>
        <a:srgbClr val="166A8C"/>
      </a:dk2>
      <a:lt2>
        <a:srgbClr val="166A8C"/>
      </a:lt2>
      <a:accent1>
        <a:srgbClr val="166A8C"/>
      </a:accent1>
      <a:accent2>
        <a:srgbClr val="55A8D4"/>
      </a:accent2>
      <a:accent3>
        <a:srgbClr val="15914B"/>
      </a:accent3>
      <a:accent4>
        <a:srgbClr val="F3A447"/>
      </a:accent4>
      <a:accent5>
        <a:srgbClr val="92D050"/>
      </a:accent5>
      <a:accent6>
        <a:srgbClr val="B2C4DA"/>
      </a:accent6>
      <a:hlink>
        <a:srgbClr val="809EC2"/>
      </a:hlink>
      <a:folHlink>
        <a:srgbClr val="7B354D"/>
      </a:folHlink>
    </a:clrScheme>
    <a:fontScheme name="Paper">
      <a:maj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onstantia"/>
        <a:ea typeface=""/>
        <a:cs typeface=""/>
        <a:font script="Jpan" typeface="HG明朝E"/>
        <a:font script="Hang" typeface="궁서"/>
        <a:font script="Hans" typeface="华文新魏"/>
        <a:font script="Hant" typeface="標楷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696</TotalTime>
  <Words>2662</Words>
  <Application>Microsoft Office PowerPoint</Application>
  <PresentationFormat>On-screen Show (4:3)</PresentationFormat>
  <Paragraphs>535</Paragraphs>
  <Slides>30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Arial Unicode MS</vt:lpstr>
      <vt:lpstr>Arial</vt:lpstr>
      <vt:lpstr>Calibri</vt:lpstr>
      <vt:lpstr>Century Gothic</vt:lpstr>
      <vt:lpstr>Century Schoolbook</vt:lpstr>
      <vt:lpstr>Constantia</vt:lpstr>
      <vt:lpstr>Mangal</vt:lpstr>
      <vt:lpstr>Palatino Linotype</vt:lpstr>
      <vt:lpstr>Wingdings</vt:lpstr>
      <vt:lpstr>Wingdings 2</vt:lpstr>
      <vt:lpstr>Median</vt:lpstr>
      <vt:lpstr>think-cell Slide</vt:lpstr>
      <vt:lpstr>Acrobat Document</vt:lpstr>
      <vt:lpstr>PowerPoint Presentation</vt:lpstr>
      <vt:lpstr>ODF शहर म्हणजे काय?</vt:lpstr>
      <vt:lpstr>उघड्यावरील शौचविधीमुक्त (ODF) शहर – व्याख्या </vt:lpstr>
      <vt:lpstr>ODF+ and ODF ++ Cities</vt:lpstr>
      <vt:lpstr>PowerPoint Presentation</vt:lpstr>
      <vt:lpstr>PowerPoint Presentation</vt:lpstr>
      <vt:lpstr>अभियानांतर्गत बांधली जाणारी शौचालये- निकष </vt:lpstr>
      <vt:lpstr>PowerPoint Presentation</vt:lpstr>
      <vt:lpstr>शौचालय कुठे बांधावे ?. . .</vt:lpstr>
      <vt:lpstr>शौचालयाचा किमान आकार. . .</vt:lpstr>
      <vt:lpstr>सेप्टिक टाकी कुठे बांधावी ?. . .</vt:lpstr>
      <vt:lpstr>सेप्टिक टाकीचा किमान आकार / आकारमान . . .</vt:lpstr>
      <vt:lpstr>अंतर्गम (inlet) व निर्गम (outlet)</vt:lpstr>
      <vt:lpstr>सुधारित सेप्टिक टाकी</vt:lpstr>
      <vt:lpstr>अ‍ॅनोरेबिक  बायो डायजेस्टर – रीड बेडसहित</vt:lpstr>
      <vt:lpstr>शौचालय आणि सेप्टिक टाकी डिझाइन. . .</vt:lpstr>
      <vt:lpstr>सर्वांगीण मैला व्यवस्थापन </vt:lpstr>
      <vt:lpstr>Challenge</vt:lpstr>
      <vt:lpstr>Challenge</vt:lpstr>
      <vt:lpstr>Options for waste water management systems</vt:lpstr>
      <vt:lpstr>Septage Management / FSM ची गरज शासनाकडून अधोरेखित केली जात आहे </vt:lpstr>
      <vt:lpstr>Septage Management संदर्भात नगरपरिषद संचालनालयाकडून देण्यात आलेल्या मार्गदर्शक सूचना  </vt:lpstr>
      <vt:lpstr>निती आयोग अहवाल, ऑक्टोबर २०१५</vt:lpstr>
      <vt:lpstr>Current situation of septage management in Small – Medium towns of Maharashtra</vt:lpstr>
      <vt:lpstr>End-to-end IFSM solution – From red to green</vt:lpstr>
      <vt:lpstr>   Need to move from complaint Redressal                             To regular service </vt:lpstr>
      <vt:lpstr>PowerPoint Presentation</vt:lpstr>
      <vt:lpstr>Available Septage Treatment options</vt:lpstr>
      <vt:lpstr>IFSM साठी अंतर्गत करावयाचे काही प्रमुख उपक्रम</vt:lpstr>
      <vt:lpstr>धन्यवाद !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inesh</dc:creator>
  <cp:lastModifiedBy>Pasproject1</cp:lastModifiedBy>
  <cp:revision>2145</cp:revision>
  <cp:lastPrinted>2014-03-28T10:58:08Z</cp:lastPrinted>
  <dcterms:created xsi:type="dcterms:W3CDTF">2006-08-16T00:00:00Z</dcterms:created>
  <dcterms:modified xsi:type="dcterms:W3CDTF">2016-02-09T08:47:54Z</dcterms:modified>
</cp:coreProperties>
</file>